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23"/>
  </p:notesMasterIdLst>
  <p:sldIdLst>
    <p:sldId id="356" r:id="rId2"/>
    <p:sldId id="400" r:id="rId3"/>
    <p:sldId id="366" r:id="rId4"/>
    <p:sldId id="376" r:id="rId5"/>
    <p:sldId id="398" r:id="rId6"/>
    <p:sldId id="386" r:id="rId7"/>
    <p:sldId id="387" r:id="rId8"/>
    <p:sldId id="385" r:id="rId9"/>
    <p:sldId id="367" r:id="rId10"/>
    <p:sldId id="383" r:id="rId11"/>
    <p:sldId id="391" r:id="rId12"/>
    <p:sldId id="380" r:id="rId13"/>
    <p:sldId id="384" r:id="rId14"/>
    <p:sldId id="397" r:id="rId15"/>
    <p:sldId id="394" r:id="rId16"/>
    <p:sldId id="395" r:id="rId17"/>
    <p:sldId id="368" r:id="rId18"/>
    <p:sldId id="382" r:id="rId19"/>
    <p:sldId id="393" r:id="rId20"/>
    <p:sldId id="388" r:id="rId21"/>
    <p:sldId id="351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38">
          <p15:clr>
            <a:srgbClr val="A4A3A4"/>
          </p15:clr>
        </p15:guide>
        <p15:guide id="2" pos="7287">
          <p15:clr>
            <a:srgbClr val="A4A3A4"/>
          </p15:clr>
        </p15:guide>
        <p15:guide id="3" orient="horz" pos="648">
          <p15:clr>
            <a:srgbClr val="A4A3A4"/>
          </p15:clr>
        </p15:guide>
        <p15:guide id="4" orient="horz" pos="712">
          <p15:clr>
            <a:srgbClr val="A4A3A4"/>
          </p15:clr>
        </p15:guide>
        <p15:guide id="5" orient="horz" pos="3928">
          <p15:clr>
            <a:srgbClr val="A4A3A4"/>
          </p15:clr>
        </p15:guide>
        <p15:guide id="6" orient="horz" pos="388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4FF"/>
    <a:srgbClr val="812790"/>
    <a:srgbClr val="006EFF"/>
    <a:srgbClr val="038CCD"/>
    <a:srgbClr val="000000"/>
    <a:srgbClr val="0042BE"/>
    <a:srgbClr val="DC6140"/>
    <a:srgbClr val="FFFFFF"/>
    <a:srgbClr val="04A4FF"/>
    <a:srgbClr val="1D5B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6182" autoAdjust="0"/>
  </p:normalViewPr>
  <p:slideViewPr>
    <p:cSldViewPr snapToGrid="0">
      <p:cViewPr varScale="1">
        <p:scale>
          <a:sx n="112" d="100"/>
          <a:sy n="112" d="100"/>
        </p:scale>
        <p:origin x="616" y="192"/>
      </p:cViewPr>
      <p:guideLst>
        <p:guide pos="438"/>
        <p:guide pos="7287"/>
        <p:guide orient="horz" pos="648"/>
        <p:guide orient="horz" pos="712"/>
        <p:guide orient="horz" pos="3928"/>
        <p:guide orient="horz" pos="388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7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F800FD-2B50-3D4F-9886-DAA391708887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336443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67253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02127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67382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067522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07011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19322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69893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334201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9172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80566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99682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845200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10446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48311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89292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0048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9" name="图片 176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" t="2969" r="13542" b="3724"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10477500"/>
              <a:gd name="connsiteY0" fmla="*/ 0 h 5921054"/>
              <a:gd name="connsiteX1" fmla="*/ 10477500 w 10477500"/>
              <a:gd name="connsiteY1" fmla="*/ 0 h 5921054"/>
              <a:gd name="connsiteX2" fmla="*/ 10477500 w 10477500"/>
              <a:gd name="connsiteY2" fmla="*/ 5921054 h 5921054"/>
              <a:gd name="connsiteX3" fmla="*/ 0 w 10477500"/>
              <a:gd name="connsiteY3" fmla="*/ 5921054 h 5921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77500" h="5921054">
                <a:moveTo>
                  <a:pt x="0" y="0"/>
                </a:moveTo>
                <a:lnTo>
                  <a:pt x="10477500" y="0"/>
                </a:lnTo>
                <a:lnTo>
                  <a:pt x="10477500" y="5921054"/>
                </a:lnTo>
                <a:lnTo>
                  <a:pt x="0" y="5921054"/>
                </a:lnTo>
                <a:close/>
              </a:path>
            </a:pathLst>
          </a:custGeom>
        </p:spPr>
      </p:pic>
      <p:sp>
        <p:nvSpPr>
          <p:cNvPr id="10924" name="任意多边形: 形状 10923"/>
          <p:cNvSpPr/>
          <p:nvPr/>
        </p:nvSpPr>
        <p:spPr>
          <a:xfrm>
            <a:off x="1414079" y="4439682"/>
            <a:ext cx="915386" cy="76282"/>
          </a:xfrm>
          <a:custGeom>
            <a:avLst/>
            <a:gdLst>
              <a:gd name="connsiteX0" fmla="*/ 4768 w 915385"/>
              <a:gd name="connsiteY0" fmla="*/ 4768 h 76282"/>
              <a:gd name="connsiteX1" fmla="*/ 913797 w 915385"/>
              <a:gd name="connsiteY1" fmla="*/ 4768 h 76282"/>
              <a:gd name="connsiteX2" fmla="*/ 913797 w 915385"/>
              <a:gd name="connsiteY2" fmla="*/ 73421 h 76282"/>
              <a:gd name="connsiteX3" fmla="*/ 4768 w 915385"/>
              <a:gd name="connsiteY3" fmla="*/ 73421 h 76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385" h="76282">
                <a:moveTo>
                  <a:pt x="4768" y="4768"/>
                </a:moveTo>
                <a:lnTo>
                  <a:pt x="913797" y="4768"/>
                </a:lnTo>
                <a:lnTo>
                  <a:pt x="913797" y="73421"/>
                </a:lnTo>
                <a:lnTo>
                  <a:pt x="4768" y="73421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303247" y="3293034"/>
            <a:ext cx="5716389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303247" y="2050469"/>
            <a:ext cx="5716389" cy="1242566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03247" y="5056342"/>
            <a:ext cx="571638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03247" y="5352613"/>
            <a:ext cx="571638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0/7/3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pic>
        <p:nvPicPr>
          <p:cNvPr id="7" name="图片 6" descr="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39957" y="736754"/>
            <a:ext cx="981281" cy="2621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0/7/30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" t="2969" r="13542" b="3724"/>
          <a:stretch>
            <a:fillRect/>
          </a:stretch>
        </p:blipFill>
        <p:spPr>
          <a:xfrm flipH="1">
            <a:off x="-1" y="0"/>
            <a:ext cx="12192001" cy="6858000"/>
          </a:xfrm>
          <a:custGeom>
            <a:avLst/>
            <a:gdLst>
              <a:gd name="connsiteX0" fmla="*/ 0 w 10477500"/>
              <a:gd name="connsiteY0" fmla="*/ 0 h 5921054"/>
              <a:gd name="connsiteX1" fmla="*/ 10477500 w 10477500"/>
              <a:gd name="connsiteY1" fmla="*/ 0 h 5921054"/>
              <a:gd name="connsiteX2" fmla="*/ 10477500 w 10477500"/>
              <a:gd name="connsiteY2" fmla="*/ 5921054 h 5921054"/>
              <a:gd name="connsiteX3" fmla="*/ 0 w 10477500"/>
              <a:gd name="connsiteY3" fmla="*/ 5921054 h 5921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77500" h="5921054">
                <a:moveTo>
                  <a:pt x="0" y="0"/>
                </a:moveTo>
                <a:lnTo>
                  <a:pt x="10477500" y="0"/>
                </a:lnTo>
                <a:lnTo>
                  <a:pt x="10477500" y="5921054"/>
                </a:lnTo>
                <a:lnTo>
                  <a:pt x="0" y="5921054"/>
                </a:lnTo>
                <a:close/>
              </a:path>
            </a:pathLst>
          </a:cu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4411" y="2234191"/>
            <a:ext cx="542607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094411" y="4540427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2" y="4244156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1656"/>
          </a:xfrm>
          <a:prstGeom prst="rect">
            <a:avLst/>
          </a:prstGeom>
        </p:spPr>
      </p:pic>
      <p:pic>
        <p:nvPicPr>
          <p:cNvPr id="9" name="图片 8" descr="腾讯云Logo+slogan w-0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1202" y="524122"/>
            <a:ext cx="2334313" cy="207252"/>
          </a:xfrm>
          <a:prstGeom prst="rect">
            <a:avLst/>
          </a:prstGeom>
        </p:spPr>
      </p:pic>
      <p:cxnSp>
        <p:nvCxnSpPr>
          <p:cNvPr id="10" name="直接连接符 11"/>
          <p:cNvCxnSpPr/>
          <p:nvPr userDrawn="1"/>
        </p:nvCxnSpPr>
        <p:spPr>
          <a:xfrm>
            <a:off x="798354" y="528971"/>
            <a:ext cx="0" cy="336613"/>
          </a:xfrm>
          <a:prstGeom prst="line">
            <a:avLst/>
          </a:prstGeom>
          <a:ln>
            <a:solidFill>
              <a:srgbClr val="008CF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601" y="1325630"/>
            <a:ext cx="7259399" cy="553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079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0/7/30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tif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image" Target="../media/image17.jpg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png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18.jpg"/><Relationship Id="rId4" Type="http://schemas.openxmlformats.org/officeDocument/2006/relationships/tags" Target="../tags/tag2.xml"/><Relationship Id="rId9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5639" y="0"/>
            <a:ext cx="12180722" cy="6858000"/>
          </a:xfrm>
          <a:prstGeom prst="rect">
            <a:avLst/>
          </a:prstGeom>
          <a:solidFill>
            <a:srgbClr val="000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99"/>
          </a:p>
        </p:txBody>
      </p:sp>
      <p:pic>
        <p:nvPicPr>
          <p:cNvPr id="7" name="图片 6" descr="腾讯云Logo+slogan w-0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866" y="524122"/>
            <a:ext cx="2332153" cy="207252"/>
          </a:xfrm>
          <a:prstGeom prst="rect">
            <a:avLst/>
          </a:prstGeom>
        </p:spPr>
      </p:pic>
      <p:pic>
        <p:nvPicPr>
          <p:cNvPr id="8" name="图片 7" descr="封面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8130" y="1304776"/>
            <a:ext cx="4440465" cy="4288206"/>
          </a:xfrm>
          <a:prstGeom prst="rect">
            <a:avLst/>
          </a:prstGeom>
        </p:spPr>
      </p:pic>
      <p:pic>
        <p:nvPicPr>
          <p:cNvPr id="9" name="图片 8" descr="点点"/>
          <p:cNvPicPr>
            <a:picLocks noChangeAspect="1"/>
          </p:cNvPicPr>
          <p:nvPr/>
        </p:nvPicPr>
        <p:blipFill>
          <a:blip r:embed="rId5">
            <a:lum bright="-18000"/>
          </a:blip>
          <a:stretch>
            <a:fillRect/>
          </a:stretch>
        </p:blipFill>
        <p:spPr>
          <a:xfrm>
            <a:off x="828684" y="2020816"/>
            <a:ext cx="10553242" cy="4757671"/>
          </a:xfrm>
          <a:prstGeom prst="rect">
            <a:avLst/>
          </a:prstGeom>
        </p:spPr>
      </p:pic>
      <p:sp>
        <p:nvSpPr>
          <p:cNvPr id="10" name="矩形 9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/>
          <p:cNvSpPr/>
          <p:nvPr/>
        </p:nvSpPr>
        <p:spPr>
          <a:xfrm>
            <a:off x="562624" y="1982761"/>
            <a:ext cx="9965531" cy="923269"/>
          </a:xfrm>
          <a:prstGeom prst="rect">
            <a:avLst/>
          </a:prstGeom>
        </p:spPr>
        <p:txBody>
          <a:bodyPr wrap="square" lIns="91380" tIns="45690" rIns="91380" bIns="45690">
            <a:spAutoFit/>
          </a:bodyPr>
          <a:lstStyle/>
          <a:p>
            <a:pPr defTabSz="913729"/>
            <a:r>
              <a:rPr lang="zh-CN" altLang="en-US" sz="5400" b="1" dirty="0">
                <a:solidFill>
                  <a:prstClr val="white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思源黑体 CN ExtraLight"/>
                <a:sym typeface="+mn-lt"/>
              </a:rPr>
              <a:t>弹性容器</a:t>
            </a:r>
          </a:p>
        </p:txBody>
      </p:sp>
      <p:sp>
        <p:nvSpPr>
          <p:cNvPr id="11" name="矩形 10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/>
          <p:cNvSpPr/>
          <p:nvPr/>
        </p:nvSpPr>
        <p:spPr>
          <a:xfrm>
            <a:off x="562624" y="3097561"/>
            <a:ext cx="5602695" cy="523160"/>
          </a:xfrm>
          <a:prstGeom prst="rect">
            <a:avLst/>
          </a:prstGeom>
        </p:spPr>
        <p:txBody>
          <a:bodyPr wrap="none" lIns="91380" tIns="45690" rIns="91380" bIns="45690">
            <a:spAutoFit/>
          </a:bodyPr>
          <a:lstStyle/>
          <a:p>
            <a:pPr defTabSz="913729"/>
            <a:r>
              <a:rPr lang="en-US" altLang="zh-CN" sz="2800" dirty="0">
                <a:solidFill>
                  <a:prstClr val="white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思源黑体 CN ExtraLight"/>
                <a:sym typeface="+mn-lt"/>
              </a:rPr>
              <a:t>——</a:t>
            </a:r>
            <a:r>
              <a:rPr lang="zh-CN" altLang="en-US" sz="2800" dirty="0">
                <a:solidFill>
                  <a:prstClr val="white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思源黑体 CN ExtraLight"/>
                <a:sym typeface="+mn-lt"/>
              </a:rPr>
              <a:t> </a:t>
            </a:r>
            <a:r>
              <a:rPr lang="zh-CN" altLang="en-US" sz="2800" dirty="0">
                <a:solidFill>
                  <a:prstClr val="white"/>
                </a:solidFill>
                <a:latin typeface="TTTGB Medium" panose="020C06030202040F0204" pitchFamily="34" charset="-122"/>
                <a:ea typeface="TTTGB Medium" panose="020C06030202040F0204" pitchFamily="34" charset="-122"/>
              </a:rPr>
              <a:t>构建高可用无服务器业务体系</a:t>
            </a:r>
            <a:endParaRPr lang="en-US" altLang="zh-CN" sz="2800" dirty="0">
              <a:solidFill>
                <a:prstClr val="white"/>
              </a:solidFill>
              <a:latin typeface="TTTGB Medium" panose="020C06030202040F0204" pitchFamily="34" charset="-122"/>
              <a:ea typeface="TTTGB Medium" panose="020C06030202040F0204" pitchFamily="34" charset="-122"/>
            </a:endParaRPr>
          </a:p>
        </p:txBody>
      </p:sp>
      <p:sp>
        <p:nvSpPr>
          <p:cNvPr id="12" name="矩形 11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/>
          <p:cNvSpPr/>
          <p:nvPr/>
        </p:nvSpPr>
        <p:spPr>
          <a:xfrm>
            <a:off x="750866" y="4489239"/>
            <a:ext cx="3104165" cy="461604"/>
          </a:xfrm>
          <a:prstGeom prst="rect">
            <a:avLst/>
          </a:prstGeom>
        </p:spPr>
        <p:txBody>
          <a:bodyPr wrap="square" lIns="91380" tIns="45690" rIns="91380" bIns="45690">
            <a:spAutoFit/>
          </a:bodyPr>
          <a:lstStyle/>
          <a:p>
            <a:pPr defTabSz="913729"/>
            <a:r>
              <a:rPr lang="zh-CN" altLang="en-US" sz="2400" dirty="0">
                <a:solidFill>
                  <a:prstClr val="white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Microsoft YaHei Light" charset="-122"/>
                <a:sym typeface="+mn-lt"/>
              </a:rPr>
              <a:t>韩沛</a:t>
            </a:r>
          </a:p>
        </p:txBody>
      </p:sp>
    </p:spTree>
    <p:extLst>
      <p:ext uri="{BB962C8B-B14F-4D97-AF65-F5344CB8AC3E}">
        <p14:creationId xmlns:p14="http://schemas.microsoft.com/office/powerpoint/2010/main" val="35339645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高性价比星星海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0006544-A855-624B-8592-11F85B875DDA}"/>
              </a:ext>
            </a:extLst>
          </p:cNvPr>
          <p:cNvSpPr/>
          <p:nvPr/>
        </p:nvSpPr>
        <p:spPr>
          <a:xfrm>
            <a:off x="908096" y="4480318"/>
            <a:ext cx="5262562" cy="16894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ot="0" spcFirstLastPara="0" vertOverflow="overflow" horzOverflow="overflow" vert="horz" wrap="none" lIns="206514" tIns="103257" rIns="206514" bIns="103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065010"/>
            <a:endParaRPr lang="zh-CN" altLang="en-US" sz="1600" b="1">
              <a:solidFill>
                <a:prstClr val="white"/>
              </a:solidFill>
              <a:latin typeface="TTTGB Medium" panose="020C06030202040F0204" pitchFamily="34" charset="-128"/>
              <a:ea typeface="TTTGB Medium" panose="020C06030202040F0204" pitchFamily="34" charset="-128"/>
              <a:cs typeface="+mj-cs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F360828F-919B-9942-82CD-257A200F7237}"/>
              </a:ext>
            </a:extLst>
          </p:cNvPr>
          <p:cNvSpPr txBox="1"/>
          <p:nvPr/>
        </p:nvSpPr>
        <p:spPr>
          <a:xfrm>
            <a:off x="908096" y="1389313"/>
            <a:ext cx="50717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rgbClr val="04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更好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计算性能，</a:t>
            </a:r>
            <a:r>
              <a:rPr lang="zh-CN" altLang="en-US" sz="2000" b="1" dirty="0">
                <a:solidFill>
                  <a:srgbClr val="04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更低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价格</a:t>
            </a: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1EA1E0A1-1139-C840-923D-A1EF6B3E653F}"/>
              </a:ext>
            </a:extLst>
          </p:cNvPr>
          <p:cNvSpPr txBox="1"/>
          <p:nvPr/>
        </p:nvSpPr>
        <p:spPr>
          <a:xfrm>
            <a:off x="908096" y="2145583"/>
            <a:ext cx="4681174" cy="31066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6E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性能</a:t>
            </a:r>
            <a:r>
              <a:rPr lang="en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zh-CN" altLang="e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提升</a:t>
            </a: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400" b="1" dirty="0">
                <a:solidFill>
                  <a:srgbClr val="006E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6%</a:t>
            </a:r>
            <a:r>
              <a:rPr lang="zh-CN" altLang="en-US" sz="1400" b="1" dirty="0">
                <a:solidFill>
                  <a:srgbClr val="006E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～</a:t>
            </a:r>
            <a:r>
              <a:rPr lang="en-US" altLang="zh-CN" sz="1400" b="1" dirty="0">
                <a:solidFill>
                  <a:srgbClr val="006E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7%</a:t>
            </a:r>
            <a:r>
              <a:rPr lang="zh-CN" altLang="en-US" sz="1400" b="1" dirty="0">
                <a:solidFill>
                  <a:srgbClr val="006E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s</a:t>
            </a: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ntel Xeon Cascade Lake 8255C(2.5 GHz)</a:t>
            </a:r>
          </a:p>
          <a:p>
            <a:pPr>
              <a:lnSpc>
                <a:spcPct val="150000"/>
              </a:lnSpc>
            </a:pPr>
            <a:r>
              <a:rPr lang="zh-CN" altLang="e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提升</a:t>
            </a: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 </a:t>
            </a:r>
            <a:r>
              <a:rPr lang="en-US" altLang="zh-CN" sz="1400" b="1" dirty="0">
                <a:solidFill>
                  <a:srgbClr val="006E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30%</a:t>
            </a:r>
            <a:r>
              <a:rPr lang="zh-CN" altLang="en-US" sz="12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 </a:t>
            </a:r>
            <a:r>
              <a:rPr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vs</a:t>
            </a: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 </a:t>
            </a:r>
            <a:r>
              <a:rPr lang="en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MD EPYC 7551(2.0 GHz)</a:t>
            </a:r>
          </a:p>
          <a:p>
            <a:pPr>
              <a:lnSpc>
                <a:spcPct val="150000"/>
              </a:lnSpc>
            </a:pPr>
            <a:endParaRPr lang="en" altLang="zh-CN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4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价格</a:t>
            </a:r>
            <a:endParaRPr lang="en-US" altLang="zh-CN" sz="1600" b="1" dirty="0">
              <a:solidFill>
                <a:srgbClr val="04A4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/>
              <a:sym typeface="Arial"/>
              <a:rtl val="0"/>
            </a:endParaRPr>
          </a:p>
          <a:p>
            <a:pPr>
              <a:lnSpc>
                <a:spcPct val="150000"/>
              </a:lnSpc>
            </a:pP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降低 </a:t>
            </a:r>
            <a:r>
              <a:rPr kumimoji="1" lang="en-US" altLang="zh-CN" sz="14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50%</a:t>
            </a:r>
            <a:r>
              <a:rPr kumimoji="1" lang="zh-CN" altLang="en-US" sz="1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 </a:t>
            </a:r>
            <a:r>
              <a:rPr kumimoji="1"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vs</a:t>
            </a: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 </a:t>
            </a:r>
            <a:r>
              <a:rPr kumimoji="1"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Intel</a:t>
            </a: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 </a:t>
            </a:r>
            <a:r>
              <a:rPr kumimoji="1"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EKS</a:t>
            </a: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 </a:t>
            </a:r>
            <a:r>
              <a:rPr kumimoji="1"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Pod</a:t>
            </a:r>
          </a:p>
          <a:p>
            <a:pPr>
              <a:lnSpc>
                <a:spcPct val="150000"/>
              </a:lnSpc>
            </a:pPr>
            <a:endParaRPr kumimoji="1" lang="en-US" altLang="zh-CN" sz="1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/>
              <a:sym typeface="Arial"/>
              <a:rtl val="0"/>
            </a:endParaRPr>
          </a:p>
          <a:p>
            <a:pPr>
              <a:lnSpc>
                <a:spcPct val="150000"/>
              </a:lnSpc>
            </a:pPr>
            <a:r>
              <a:rPr kumimoji="1" lang="zh-CN" altLang="en-US" sz="1600" b="1" dirty="0">
                <a:solidFill>
                  <a:srgbClr val="7030A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/>
                <a:sym typeface="Arial"/>
                <a:rtl val="0"/>
              </a:rPr>
              <a:t>稳定性</a:t>
            </a:r>
            <a:endParaRPr kumimoji="1" lang="en-US" altLang="zh-CN" sz="1600" b="1" dirty="0">
              <a:solidFill>
                <a:srgbClr val="7030A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/>
              <a:sym typeface="Arial"/>
              <a:rtl val="0"/>
            </a:endParaRPr>
          </a:p>
          <a:p>
            <a:pPr>
              <a:lnSpc>
                <a:spcPct val="150000"/>
              </a:lnSpc>
            </a:pP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等同 </a:t>
            </a:r>
            <a:r>
              <a:rPr kumimoji="1"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ntel</a:t>
            </a: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。线上运行超一年，内存故障率远低大盘。</a:t>
            </a:r>
            <a:endParaRPr kumimoji="1" lang="en-US" altLang="zh-CN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61" name="表格 60">
            <a:extLst>
              <a:ext uri="{FF2B5EF4-FFF2-40B4-BE49-F238E27FC236}">
                <a16:creationId xmlns:a16="http://schemas.microsoft.com/office/drawing/2014/main" id="{D4DF5A1D-B26E-3C4A-9F80-68BAC7C6A2A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278889" y="1511894"/>
          <a:ext cx="4887552" cy="416881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63881">
                  <a:extLst>
                    <a:ext uri="{9D8B030D-6E8A-4147-A177-3AD203B41FA5}">
                      <a16:colId xmlns:a16="http://schemas.microsoft.com/office/drawing/2014/main" val="3975349545"/>
                    </a:ext>
                  </a:extLst>
                </a:gridCol>
                <a:gridCol w="3023671">
                  <a:extLst>
                    <a:ext uri="{9D8B030D-6E8A-4147-A177-3AD203B41FA5}">
                      <a16:colId xmlns:a16="http://schemas.microsoft.com/office/drawing/2014/main" val="3747932988"/>
                    </a:ext>
                  </a:extLst>
                </a:gridCol>
              </a:tblGrid>
              <a:tr h="416881"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参数</a:t>
                      </a:r>
                    </a:p>
                  </a:txBody>
                  <a:tcPr anchor="ctr">
                    <a:solidFill>
                      <a:srgbClr val="006E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腾讯云定制 </a:t>
                      </a:r>
                      <a:r>
                        <a:rPr lang="en-US" altLang="zh-CN" sz="1200" b="1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AMD-ROME CPU</a:t>
                      </a:r>
                      <a:endParaRPr lang="zh-CN" altLang="en-US" sz="1200" b="1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solidFill>
                      <a:srgbClr val="006E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7187765"/>
                  </a:ext>
                </a:extLst>
              </a:tr>
              <a:tr h="416881"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DIE</a:t>
                      </a:r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架构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</a:t>
                      </a:r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</a:t>
                      </a: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CPUDIE + 1 IODIE </a:t>
                      </a:r>
                      <a:endParaRPr lang="zh-CN" altLang="en-US" sz="1200" b="0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6608334"/>
                  </a:ext>
                </a:extLst>
              </a:tr>
              <a:tr h="41688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工艺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n-NO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7nm for CPUDIE+15nm for IO DIE</a:t>
                      </a:r>
                      <a:endParaRPr lang="zh-CN" altLang="en-US" sz="1200" b="0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3071033"/>
                  </a:ext>
                </a:extLst>
              </a:tr>
              <a:tr h="41688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核数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可售</a:t>
                      </a: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80</a:t>
                      </a:r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核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523075"/>
                  </a:ext>
                </a:extLst>
              </a:tr>
              <a:tr h="41688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频率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.6/3.3GHz</a:t>
                      </a:r>
                      <a:endParaRPr lang="zh-CN" altLang="en-US" sz="1200" b="0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8763744"/>
                  </a:ext>
                </a:extLst>
              </a:tr>
              <a:tr h="41688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L3</a:t>
                      </a:r>
                      <a:endParaRPr lang="zh-CN" altLang="en-US" sz="1200" b="0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96MB L3</a:t>
                      </a:r>
                      <a:endParaRPr lang="zh-CN" altLang="en-US" sz="1200" b="0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8127015"/>
                  </a:ext>
                </a:extLst>
              </a:tr>
              <a:tr h="41688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内存通道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</a:t>
                      </a:r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通道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4195621"/>
                  </a:ext>
                </a:extLst>
              </a:tr>
              <a:tr h="41688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内存访问时延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ns/230ns</a:t>
                      </a:r>
                      <a:endParaRPr lang="zh-CN" altLang="en-US" sz="1200" b="0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949769"/>
                  </a:ext>
                </a:extLst>
              </a:tr>
              <a:tr h="41688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CIe</a:t>
                      </a:r>
                      <a:endParaRPr lang="zh-CN" altLang="en-US" sz="1200" b="0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CIe 4.0</a:t>
                      </a:r>
                      <a:endParaRPr lang="zh-CN" altLang="en-US" sz="1200" b="0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361695"/>
                  </a:ext>
                </a:extLst>
              </a:tr>
              <a:tr h="41688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网卡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G</a:t>
                      </a:r>
                      <a:endParaRPr lang="zh-CN" altLang="en-US" sz="1200" b="0" i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07592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81015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适用场景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A33B431-C339-9642-A467-8D7A16C566E9}"/>
              </a:ext>
            </a:extLst>
          </p:cNvPr>
          <p:cNvSpPr/>
          <p:nvPr/>
        </p:nvSpPr>
        <p:spPr>
          <a:xfrm>
            <a:off x="848991" y="1170175"/>
            <a:ext cx="8005641" cy="418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适合所有追求更好弹性、更易运维的计算场景。</a:t>
            </a:r>
            <a:endParaRPr lang="en-US" altLang="zh-CN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FFE6EBC8-CA15-814B-A444-6030F5487DBE}"/>
              </a:ext>
            </a:extLst>
          </p:cNvPr>
          <p:cNvSpPr/>
          <p:nvPr/>
        </p:nvSpPr>
        <p:spPr>
          <a:xfrm>
            <a:off x="563241" y="2514600"/>
            <a:ext cx="1585599" cy="2343150"/>
          </a:xfrm>
          <a:prstGeom prst="roundRect">
            <a:avLst>
              <a:gd name="adj" fmla="val 3368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16000" rIns="108000" bIns="72000" rtlCol="0" anchor="t"/>
          <a:lstStyle/>
          <a:p>
            <a:pPr algn="ctr"/>
            <a:r>
              <a:rPr kumimoji="1"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在线服务</a:t>
            </a:r>
            <a:endParaRPr kumimoji="1"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点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微服务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特性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无节点全托管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PA</a:t>
            </a:r>
          </a:p>
          <a:p>
            <a:pPr algn="ctr"/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C05E2F71-7EF4-454A-8474-43C94C33BB27}"/>
              </a:ext>
            </a:extLst>
          </p:cNvPr>
          <p:cNvSpPr/>
          <p:nvPr/>
        </p:nvSpPr>
        <p:spPr>
          <a:xfrm>
            <a:off x="2464431" y="2514600"/>
            <a:ext cx="1585599" cy="2343150"/>
          </a:xfrm>
          <a:prstGeom prst="roundRect">
            <a:avLst>
              <a:gd name="adj" fmla="val 3368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16000" rIns="108000" bIns="72000" rtlCol="0" anchor="t"/>
          <a:lstStyle/>
          <a:p>
            <a:pPr algn="ctr"/>
            <a:r>
              <a:rPr kumimoji="1"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容器化平台</a:t>
            </a:r>
            <a:endParaRPr kumimoji="1"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点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标准接入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易运维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特性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K8S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充足异构算力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无节点全托管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CEFC1AD8-F9D6-AC4C-99A0-509C363521D1}"/>
              </a:ext>
            </a:extLst>
          </p:cNvPr>
          <p:cNvSpPr/>
          <p:nvPr/>
        </p:nvSpPr>
        <p:spPr>
          <a:xfrm>
            <a:off x="4365621" y="2514600"/>
            <a:ext cx="1585599" cy="2343150"/>
          </a:xfrm>
          <a:prstGeom prst="roundRect">
            <a:avLst>
              <a:gd name="adj" fmla="val 3368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16000" rIns="108000" bIns="72000" rtlCol="0" anchor="t"/>
          <a:lstStyle/>
          <a:p>
            <a:pPr algn="ctr"/>
            <a:r>
              <a:rPr kumimoji="1"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机器学习</a:t>
            </a:r>
            <a:endParaRPr kumimoji="1"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点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GPU</a:t>
            </a:r>
          </a:p>
          <a:p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特性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PA/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定时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P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vGPU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GPU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D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74379C40-F1C3-BF42-8E83-1D561361F101}"/>
              </a:ext>
            </a:extLst>
          </p:cNvPr>
          <p:cNvSpPr/>
          <p:nvPr/>
        </p:nvSpPr>
        <p:spPr>
          <a:xfrm>
            <a:off x="6266811" y="2514600"/>
            <a:ext cx="1585599" cy="2343150"/>
          </a:xfrm>
          <a:prstGeom prst="roundRect">
            <a:avLst>
              <a:gd name="adj" fmla="val 3368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16000" rIns="108000" bIns="72000" rtlCol="0" anchor="t"/>
          <a:lstStyle/>
          <a:p>
            <a:pPr algn="ctr"/>
            <a:r>
              <a:rPr kumimoji="1"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大数据</a:t>
            </a:r>
            <a:endParaRPr kumimoji="1"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点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高性能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特性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星星海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高性能存储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PA</a:t>
            </a:r>
          </a:p>
          <a:p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D2406A5B-2FD4-3E48-9BEE-4BAD1FC7AFCB}"/>
              </a:ext>
            </a:extLst>
          </p:cNvPr>
          <p:cNvSpPr/>
          <p:nvPr/>
        </p:nvSpPr>
        <p:spPr>
          <a:xfrm>
            <a:off x="8168001" y="2514600"/>
            <a:ext cx="1585599" cy="2343150"/>
          </a:xfrm>
          <a:prstGeom prst="roundRect">
            <a:avLst>
              <a:gd name="adj" fmla="val 3368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16000" rIns="108000" bIns="72000" rtlCol="0" anchor="t"/>
          <a:lstStyle/>
          <a:p>
            <a:pPr algn="ctr"/>
            <a:r>
              <a:rPr kumimoji="1"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维护多环境</a:t>
            </a:r>
            <a:endParaRPr kumimoji="1"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点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易运维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特性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无节点全托管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PA</a:t>
            </a:r>
          </a:p>
          <a:p>
            <a:pPr algn="ctr"/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971AC1C9-53CE-FD48-82E4-0C5C1F3D6D28}"/>
              </a:ext>
            </a:extLst>
          </p:cNvPr>
          <p:cNvSpPr/>
          <p:nvPr/>
        </p:nvSpPr>
        <p:spPr>
          <a:xfrm>
            <a:off x="10069191" y="2514600"/>
            <a:ext cx="1585599" cy="2343150"/>
          </a:xfrm>
          <a:prstGeom prst="roundRect">
            <a:avLst>
              <a:gd name="adj" fmla="val 3368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16000" rIns="108000" bIns="72000" rtlCol="0" anchor="t"/>
          <a:lstStyle/>
          <a:p>
            <a:pPr algn="ctr"/>
            <a:r>
              <a:rPr kumimoji="1"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周期任务</a:t>
            </a:r>
            <a:endParaRPr kumimoji="1"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点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弹性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并发性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适用特性：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PA/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定时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P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CronJob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289356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1A9B3C1C-6026-AA44-B5A2-297AC99D60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2465" y="1461770"/>
            <a:ext cx="2973070" cy="132596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053A48B-BC03-804B-AAE1-E675D3B1B0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9015" y="1461770"/>
            <a:ext cx="2849670" cy="132596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动态伸缩降低在线业务成本</a:t>
            </a:r>
          </a:p>
        </p:txBody>
      </p:sp>
      <p:sp>
        <p:nvSpPr>
          <p:cNvPr id="2" name="太阳 1">
            <a:extLst>
              <a:ext uri="{FF2B5EF4-FFF2-40B4-BE49-F238E27FC236}">
                <a16:creationId xmlns:a16="http://schemas.microsoft.com/office/drawing/2014/main" id="{FB7EB62E-0F0C-F541-B3CF-57D96FEBB0AD}"/>
              </a:ext>
            </a:extLst>
          </p:cNvPr>
          <p:cNvSpPr>
            <a:spLocks noChangeAspect="1"/>
          </p:cNvSpPr>
          <p:nvPr/>
        </p:nvSpPr>
        <p:spPr>
          <a:xfrm>
            <a:off x="1873885" y="1381760"/>
            <a:ext cx="360000" cy="360000"/>
          </a:xfrm>
          <a:prstGeom prst="sun">
            <a:avLst/>
          </a:prstGeom>
          <a:solidFill>
            <a:srgbClr val="DC6140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" name="月亮 3">
            <a:extLst>
              <a:ext uri="{FF2B5EF4-FFF2-40B4-BE49-F238E27FC236}">
                <a16:creationId xmlns:a16="http://schemas.microsoft.com/office/drawing/2014/main" id="{0DDC4392-65C1-A745-AC52-B19D6376D00B}"/>
              </a:ext>
            </a:extLst>
          </p:cNvPr>
          <p:cNvSpPr>
            <a:spLocks noChangeAspect="1"/>
          </p:cNvSpPr>
          <p:nvPr/>
        </p:nvSpPr>
        <p:spPr>
          <a:xfrm flipH="1">
            <a:off x="6990435" y="1381760"/>
            <a:ext cx="180000" cy="288000"/>
          </a:xfrm>
          <a:prstGeom prst="moon">
            <a:avLst>
              <a:gd name="adj" fmla="val 46296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9905AB98-04AB-0F43-A09F-0FD5AB2B2548}"/>
              </a:ext>
            </a:extLst>
          </p:cNvPr>
          <p:cNvSpPr/>
          <p:nvPr/>
        </p:nvSpPr>
        <p:spPr>
          <a:xfrm>
            <a:off x="1942465" y="3200400"/>
            <a:ext cx="2973070" cy="2320290"/>
          </a:xfrm>
          <a:prstGeom prst="rect">
            <a:avLst/>
          </a:prstGeom>
          <a:noFill/>
          <a:ln w="12700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无需增添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Node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极致的伸缩能力保证快速扩容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应对业务高峰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EFD3EA75-8F2C-2C4F-8E70-E3BC5D6BC666}"/>
              </a:ext>
            </a:extLst>
          </p:cNvPr>
          <p:cNvSpPr/>
          <p:nvPr/>
        </p:nvSpPr>
        <p:spPr>
          <a:xfrm>
            <a:off x="6997315" y="3200400"/>
            <a:ext cx="2973070" cy="2320290"/>
          </a:xfrm>
          <a:prstGeom prst="rect">
            <a:avLst/>
          </a:prstGeom>
          <a:noFill/>
          <a:ln w="12700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低峰期，销毁大部分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甚至仅维护业务可用的资源即可</a:t>
            </a:r>
            <a:endParaRPr kumimoji="1"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9B5BD945-E5C1-1144-B804-1610699D4C49}"/>
              </a:ext>
            </a:extLst>
          </p:cNvPr>
          <p:cNvSpPr/>
          <p:nvPr/>
        </p:nvSpPr>
        <p:spPr>
          <a:xfrm>
            <a:off x="2205529" y="3463290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圆角矩形 15">
            <a:extLst>
              <a:ext uri="{FF2B5EF4-FFF2-40B4-BE49-F238E27FC236}">
                <a16:creationId xmlns:a16="http://schemas.microsoft.com/office/drawing/2014/main" id="{2CE99B87-0653-1640-822F-2147682FB5BF}"/>
              </a:ext>
            </a:extLst>
          </p:cNvPr>
          <p:cNvSpPr/>
          <p:nvPr/>
        </p:nvSpPr>
        <p:spPr>
          <a:xfrm>
            <a:off x="3112917" y="3463290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圆角矩形 16">
            <a:extLst>
              <a:ext uri="{FF2B5EF4-FFF2-40B4-BE49-F238E27FC236}">
                <a16:creationId xmlns:a16="http://schemas.microsoft.com/office/drawing/2014/main" id="{92DB224E-15BD-8E4C-BD41-AC32A4EB4A1F}"/>
              </a:ext>
            </a:extLst>
          </p:cNvPr>
          <p:cNvSpPr/>
          <p:nvPr/>
        </p:nvSpPr>
        <p:spPr>
          <a:xfrm>
            <a:off x="4014226" y="3463290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圆角矩形 20">
            <a:extLst>
              <a:ext uri="{FF2B5EF4-FFF2-40B4-BE49-F238E27FC236}">
                <a16:creationId xmlns:a16="http://schemas.microsoft.com/office/drawing/2014/main" id="{FE7750EE-0639-E24A-B30E-E3E8BFB36F7C}"/>
              </a:ext>
            </a:extLst>
          </p:cNvPr>
          <p:cNvSpPr/>
          <p:nvPr/>
        </p:nvSpPr>
        <p:spPr>
          <a:xfrm>
            <a:off x="2208583" y="4017645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988DCC7C-175A-EA4D-AFA5-7C506BAFBA4A}"/>
              </a:ext>
            </a:extLst>
          </p:cNvPr>
          <p:cNvSpPr/>
          <p:nvPr/>
        </p:nvSpPr>
        <p:spPr>
          <a:xfrm>
            <a:off x="3115971" y="4017645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359AD567-378B-6748-A1C5-5DD2239C3E73}"/>
              </a:ext>
            </a:extLst>
          </p:cNvPr>
          <p:cNvSpPr/>
          <p:nvPr/>
        </p:nvSpPr>
        <p:spPr>
          <a:xfrm>
            <a:off x="4017280" y="4017645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9FDDA4AD-6EA2-D448-9E1A-1A001DAD3EAE}"/>
              </a:ext>
            </a:extLst>
          </p:cNvPr>
          <p:cNvSpPr/>
          <p:nvPr/>
        </p:nvSpPr>
        <p:spPr>
          <a:xfrm>
            <a:off x="2205529" y="4572000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468DDFFF-0068-444B-8A93-EF9560755259}"/>
              </a:ext>
            </a:extLst>
          </p:cNvPr>
          <p:cNvSpPr/>
          <p:nvPr/>
        </p:nvSpPr>
        <p:spPr>
          <a:xfrm>
            <a:off x="3112917" y="4572000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983C7A3A-C850-554A-84B4-B6AE878CF380}"/>
              </a:ext>
            </a:extLst>
          </p:cNvPr>
          <p:cNvSpPr/>
          <p:nvPr/>
        </p:nvSpPr>
        <p:spPr>
          <a:xfrm>
            <a:off x="4014226" y="4572000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7" name="圆角矩形 26">
            <a:extLst>
              <a:ext uri="{FF2B5EF4-FFF2-40B4-BE49-F238E27FC236}">
                <a16:creationId xmlns:a16="http://schemas.microsoft.com/office/drawing/2014/main" id="{F3606109-AFA2-654E-BA6D-2F5DF1C80506}"/>
              </a:ext>
            </a:extLst>
          </p:cNvPr>
          <p:cNvSpPr/>
          <p:nvPr/>
        </p:nvSpPr>
        <p:spPr>
          <a:xfrm>
            <a:off x="8167767" y="4017645"/>
            <a:ext cx="632165" cy="3771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endParaRPr kumimoji="1"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" name="左弧形箭头 29">
            <a:extLst>
              <a:ext uri="{FF2B5EF4-FFF2-40B4-BE49-F238E27FC236}">
                <a16:creationId xmlns:a16="http://schemas.microsoft.com/office/drawing/2014/main" id="{6390CE02-EE5E-5F4E-A6C5-AF5967C12839}"/>
              </a:ext>
            </a:extLst>
          </p:cNvPr>
          <p:cNvSpPr/>
          <p:nvPr/>
        </p:nvSpPr>
        <p:spPr>
          <a:xfrm>
            <a:off x="6045252" y="3983355"/>
            <a:ext cx="436778" cy="554355"/>
          </a:xfrm>
          <a:prstGeom prst="curvedLeftArrow">
            <a:avLst/>
          </a:prstGeom>
          <a:solidFill>
            <a:srgbClr val="01B7FF">
              <a:alpha val="74902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lIns="206514" tIns="103257" rIns="206514" bIns="103257" rtlCol="0" anchor="ctr">
            <a:noAutofit/>
          </a:bodyPr>
          <a:lstStyle/>
          <a:p>
            <a:pPr algn="ctr" defTabSz="2065010"/>
            <a:endParaRPr lang="zh-CN" altLang="en-US" sz="160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左弧形箭头 30">
            <a:extLst>
              <a:ext uri="{FF2B5EF4-FFF2-40B4-BE49-F238E27FC236}">
                <a16:creationId xmlns:a16="http://schemas.microsoft.com/office/drawing/2014/main" id="{F6CFB35B-2087-F64C-8D70-3D9E98F331E9}"/>
              </a:ext>
            </a:extLst>
          </p:cNvPr>
          <p:cNvSpPr/>
          <p:nvPr/>
        </p:nvSpPr>
        <p:spPr>
          <a:xfrm rot="10800000">
            <a:off x="5430820" y="3929062"/>
            <a:ext cx="436778" cy="554355"/>
          </a:xfrm>
          <a:prstGeom prst="curvedLeftArrow">
            <a:avLst/>
          </a:prstGeom>
          <a:solidFill>
            <a:srgbClr val="01B7FF">
              <a:alpha val="74902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lIns="206514" tIns="103257" rIns="206514" bIns="103257" rtlCol="0" anchor="ctr">
            <a:noAutofit/>
          </a:bodyPr>
          <a:lstStyle/>
          <a:p>
            <a:pPr algn="ctr" defTabSz="2065010"/>
            <a:endParaRPr lang="zh-CN" altLang="en-US" sz="160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476639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便捷管理离线任务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A011F2D-8680-4A40-926F-FB4575393906}"/>
              </a:ext>
            </a:extLst>
          </p:cNvPr>
          <p:cNvSpPr/>
          <p:nvPr/>
        </p:nvSpPr>
        <p:spPr>
          <a:xfrm>
            <a:off x="2490636" y="3295776"/>
            <a:ext cx="3871598" cy="1106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人工处理阶段</a:t>
            </a:r>
            <a:endParaRPr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不需要为集群增添资源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不用顾虑多任务间的资源竞争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3B78899-F2BA-BF49-870C-9AD296FC857A}"/>
              </a:ext>
            </a:extLst>
          </p:cNvPr>
          <p:cNvSpPr/>
          <p:nvPr/>
        </p:nvSpPr>
        <p:spPr>
          <a:xfrm>
            <a:off x="6408100" y="3295670"/>
            <a:ext cx="3981770" cy="1660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动化阶段</a:t>
            </a:r>
            <a:endParaRPr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启动时实时申请资源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状态检查、健康检查完成后即自动开始执行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容器执行完成并退出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即自行终止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一旦终止即释放资源、停止计费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4DE9691A-9ABB-3340-BB63-6CDC46A273CB}"/>
              </a:ext>
            </a:extLst>
          </p:cNvPr>
          <p:cNvGrpSpPr/>
          <p:nvPr/>
        </p:nvGrpSpPr>
        <p:grpSpPr>
          <a:xfrm>
            <a:off x="1466212" y="1945414"/>
            <a:ext cx="8290652" cy="879085"/>
            <a:chOff x="848992" y="5124831"/>
            <a:chExt cx="8290652" cy="879085"/>
          </a:xfrm>
        </p:grpSpPr>
        <p:sp>
          <p:nvSpPr>
            <p:cNvPr id="7" name="矩形 6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C41F15B7-5503-5A4B-9AFA-1C3F0A976C9C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848992" y="5124831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连接集群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8" name="右箭头 7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5A648CFA-5E51-654B-A91B-7DBDFAB424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11664" y="5417340"/>
              <a:ext cx="318978" cy="294066"/>
            </a:xfrm>
            <a:prstGeom prst="rightArrow">
              <a:avLst/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9" name="矩形 8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2F72A815-ADD5-5544-AA84-CAC822118B3F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3072157" y="5124831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创建离线任务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工作负载（如</a:t>
              </a:r>
              <a:r>
                <a:rPr lang="en-US" altLang="zh-CN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Job</a:t>
              </a: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）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11" name="右箭头 10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F19E4ED9-779B-6F4F-B61A-019E046959E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34829" y="5417340"/>
              <a:ext cx="318978" cy="294066"/>
            </a:xfrm>
            <a:prstGeom prst="rightArrow">
              <a:avLst/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12" name="矩形 11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D47C1CAC-DEE5-FE45-8960-6D9176176013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5295322" y="5124831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自动申请资源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并开始运行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13" name="矩形 12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7FC49D4F-0710-1D4A-B130-A119EFAFC66D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518487" y="5124831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任务结束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自动释放资源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14" name="右箭头 13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7B443710-F7BF-2B49-BE8B-B847DC88BD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57994" y="5417340"/>
              <a:ext cx="318978" cy="294066"/>
            </a:xfrm>
            <a:prstGeom prst="rightArrow">
              <a:avLst/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</p:grp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F5C80EB4-B028-B842-BBFA-6D8BC58B46CE}"/>
              </a:ext>
            </a:extLst>
          </p:cNvPr>
          <p:cNvCxnSpPr>
            <a:cxnSpLocks/>
          </p:cNvCxnSpPr>
          <p:nvPr/>
        </p:nvCxnSpPr>
        <p:spPr>
          <a:xfrm>
            <a:off x="5589038" y="2933238"/>
            <a:ext cx="0" cy="2160015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9735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4B52AE24-AC78-4FDE-ABAA-297686F0694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912" y="1255331"/>
            <a:ext cx="7359253" cy="5613662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007EB2ED-4CEC-49E1-96CC-39B3D416934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480" y="1256899"/>
            <a:ext cx="7359253" cy="5613662"/>
          </a:xfrm>
          <a:prstGeom prst="rect">
            <a:avLst/>
          </a:prstGeom>
        </p:spPr>
      </p:pic>
      <p:sp>
        <p:nvSpPr>
          <p:cNvPr id="9" name="TextBox 2">
            <a:extLst>
              <a:ext uri="{FF2B5EF4-FFF2-40B4-BE49-F238E27FC236}">
                <a16:creationId xmlns:a16="http://schemas.microsoft.com/office/drawing/2014/main" id="{47E7573E-3FDD-764C-8134-D19F448896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4051" y="1961927"/>
            <a:ext cx="12717302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r>
              <a:rPr lang="zh-CN" altLang="en-US" sz="4800" dirty="0">
                <a:solidFill>
                  <a:schemeClr val="bg1"/>
                </a:solidFill>
                <a:latin typeface="TTTGB Medium" charset="-122"/>
                <a:ea typeface="TTTGB Medium" charset="-122"/>
                <a:cs typeface="TTTGB Medium" charset="-122"/>
              </a:rPr>
              <a:t>构建高可用无服务器应用体系</a:t>
            </a:r>
            <a:endParaRPr lang="en-US" altLang="zh-CN" sz="4800" dirty="0">
              <a:solidFill>
                <a:schemeClr val="bg1"/>
              </a:solidFill>
              <a:latin typeface="TTTGB Medium" charset="-122"/>
              <a:ea typeface="TTTGB Medium" charset="-122"/>
              <a:cs typeface="TTTGB Medium" charset="-122"/>
            </a:endParaRP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7B5F0EA6-F6E6-F940-B6CB-B1F0C32DB989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1194051" y="2854838"/>
            <a:ext cx="15102364" cy="435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lnSpc>
                <a:spcPct val="125000"/>
              </a:lnSpc>
            </a:pPr>
            <a:r>
              <a:rPr lang="zh-CN" altLang="en-US" sz="2400" dirty="0">
                <a:solidFill>
                  <a:schemeClr val="bg1"/>
                </a:solidFill>
                <a:latin typeface="TTTGB Medium" charset="-122"/>
                <a:ea typeface="TTTGB Medium" charset="-122"/>
                <a:cs typeface="TTTGB Medium" charset="-122"/>
              </a:rPr>
              <a:t>把产品特性转化为生产力</a:t>
            </a:r>
            <a:endParaRPr lang="en-US" altLang="zh-CN" sz="2400" dirty="0">
              <a:solidFill>
                <a:schemeClr val="bg1"/>
              </a:solidFill>
              <a:latin typeface="TTTGB Medium" charset="-122"/>
              <a:ea typeface="TTTGB Medium" charset="-122"/>
              <a:cs typeface="TTTGB Medium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241754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集群无节点，如何为 </a:t>
            </a:r>
            <a:r>
              <a:rPr lang="en-US" altLang="zh-CN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Pod</a:t>
            </a:r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 分配资源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197F566-8581-774D-BECF-8B1ABE53F026}"/>
              </a:ext>
            </a:extLst>
          </p:cNvPr>
          <p:cNvSpPr/>
          <p:nvPr/>
        </p:nvSpPr>
        <p:spPr>
          <a:xfrm>
            <a:off x="848991" y="1170175"/>
            <a:ext cx="10180959" cy="21833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过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nnotation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指定</a:t>
            </a:r>
            <a:endParaRPr lang="en-US" altLang="zh-CN" sz="12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过工作负载的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nnotation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显示指定需求的资源类型和资源量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过设置 </a:t>
            </a:r>
            <a:r>
              <a:rPr lang="en-US" altLang="zh-CN" sz="1600" b="1" dirty="0" err="1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yaml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quests/limits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自动计算</a:t>
            </a:r>
            <a:endParaRPr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如果没有通过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nnotation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指定，</a:t>
            </a:r>
            <a:r>
              <a:rPr lang="en-US" altLang="zh-CN" sz="1200" dirty="0" err="1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ks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会识别 </a:t>
            </a:r>
            <a:r>
              <a:rPr lang="en-US" altLang="zh-CN" sz="1200" dirty="0" err="1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yaml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中所有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ntainer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的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quests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和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limits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参数，进行计算，自动得出所需资源规格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计算会优先保证所有设置了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quests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值的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ntainer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可正常运行，其次尽量使最终规格也不会太大，避免资源浪费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建议为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中所有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ntainer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设置合理且相等的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quests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和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limits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并设置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PA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实现更高的资源利用率。</a:t>
            </a:r>
            <a:endParaRPr lang="zh-CN" altLang="e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508068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更多定制功能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71E095E-6243-D449-955A-1D632217AE37}"/>
              </a:ext>
            </a:extLst>
          </p:cNvPr>
          <p:cNvSpPr/>
          <p:nvPr/>
        </p:nvSpPr>
        <p:spPr>
          <a:xfrm>
            <a:off x="848991" y="1170175"/>
            <a:ext cx="8005641" cy="3366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通过 </a:t>
            </a:r>
            <a:r>
              <a:rPr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nnotation</a:t>
            </a: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定制工作负载，包括指定资源类型和大小、绑定安全组、开启高级特性等一系列特性。</a:t>
            </a:r>
            <a:endParaRPr lang="en-US" altLang="zh-CN" sz="105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5309640-C1ED-EE48-B536-CD45C5EF1E7E}"/>
              </a:ext>
            </a:extLst>
          </p:cNvPr>
          <p:cNvSpPr/>
          <p:nvPr/>
        </p:nvSpPr>
        <p:spPr>
          <a:xfrm>
            <a:off x="6486859" y="2015995"/>
            <a:ext cx="5286040" cy="706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绑定安全组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指定工作负载绑定的安全组，提高应用网络安全性。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A797F55-6685-004D-BAAF-2551BEC6F189}"/>
              </a:ext>
            </a:extLst>
          </p:cNvPr>
          <p:cNvSpPr/>
          <p:nvPr/>
        </p:nvSpPr>
        <p:spPr>
          <a:xfrm>
            <a:off x="848991" y="2015995"/>
            <a:ext cx="5286040" cy="706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精确指定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规格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指定如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PU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、内存值、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GPU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卡型号等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规格项。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80F07C5-E7BA-4D4A-90AB-7D101B615227}"/>
              </a:ext>
            </a:extLst>
          </p:cNvPr>
          <p:cNvSpPr/>
          <p:nvPr/>
        </p:nvSpPr>
        <p:spPr>
          <a:xfrm>
            <a:off x="848991" y="2941235"/>
            <a:ext cx="5286040" cy="706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固定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P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altLang="zh-CN" sz="1200" dirty="0" err="1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tatefulSet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、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are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型工作负载可重启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更新时保持容器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P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不变。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E82D7DB-7079-6044-86FD-CD8B263830C5}"/>
              </a:ext>
            </a:extLst>
          </p:cNvPr>
          <p:cNvSpPr/>
          <p:nvPr/>
        </p:nvSpPr>
        <p:spPr>
          <a:xfrm>
            <a:off x="848991" y="3866476"/>
            <a:ext cx="5286040" cy="706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暴露监控数据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指定自定义监控采集 </a:t>
            </a:r>
            <a:r>
              <a:rPr lang="en-US" altLang="zh-CN" sz="1200" dirty="0" err="1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url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自动上报自定义指标。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8E9F93C-1324-F54F-A57D-F032F7A31431}"/>
              </a:ext>
            </a:extLst>
          </p:cNvPr>
          <p:cNvSpPr/>
          <p:nvPr/>
        </p:nvSpPr>
        <p:spPr>
          <a:xfrm>
            <a:off x="6486859" y="2945097"/>
            <a:ext cx="5286040" cy="706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授予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角色权限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可绑定用户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AM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角色，获取该角色拥有的权限。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5C518441-362E-5749-8FA1-EF6167C2143A}"/>
              </a:ext>
            </a:extLst>
          </p:cNvPr>
          <p:cNvSpPr/>
          <p:nvPr/>
        </p:nvSpPr>
        <p:spPr>
          <a:xfrm>
            <a:off x="6486859" y="3866475"/>
            <a:ext cx="5286040" cy="706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定义监控采集端口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自定义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的监控数据采集端口，方便对接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rometheus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等监控。</a:t>
            </a:r>
          </a:p>
        </p:txBody>
      </p:sp>
    </p:spTree>
    <p:extLst>
      <p:ext uri="{BB962C8B-B14F-4D97-AF65-F5344CB8AC3E}">
        <p14:creationId xmlns:p14="http://schemas.microsoft.com/office/powerpoint/2010/main" val="25396183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扁平的网络与丰富的存储适配各种应用场景</a:t>
            </a:r>
          </a:p>
        </p:txBody>
      </p:sp>
      <p:sp>
        <p:nvSpPr>
          <p:cNvPr id="3" name="íṧļiḓè">
            <a:extLst>
              <a:ext uri="{FF2B5EF4-FFF2-40B4-BE49-F238E27FC236}">
                <a16:creationId xmlns:a16="http://schemas.microsoft.com/office/drawing/2014/main" id="{05A8A106-78EA-B348-B82C-FAB468B2B7FD}"/>
              </a:ext>
            </a:extLst>
          </p:cNvPr>
          <p:cNvSpPr txBox="1"/>
          <p:nvPr/>
        </p:nvSpPr>
        <p:spPr>
          <a:xfrm>
            <a:off x="1780516" y="2831473"/>
            <a:ext cx="3900194" cy="17543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Autofit/>
          </a:bodyPr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运行在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PC 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网络上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每个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会占用一个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PC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子网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P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集群可包含多个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PC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子网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调度时会自动进行多子网分散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支持关联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LB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、安全组、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NAT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网关等一系列产品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过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NAT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网关可以实现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访问公网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过公网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LB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可以实现公网对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的访问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ïšḷíḓê">
            <a:extLst>
              <a:ext uri="{FF2B5EF4-FFF2-40B4-BE49-F238E27FC236}">
                <a16:creationId xmlns:a16="http://schemas.microsoft.com/office/drawing/2014/main" id="{BE80FCE2-EA8D-374C-9F28-05ADCC003D13}"/>
              </a:ext>
            </a:extLst>
          </p:cNvPr>
          <p:cNvSpPr txBox="1"/>
          <p:nvPr/>
        </p:nvSpPr>
        <p:spPr>
          <a:xfrm>
            <a:off x="2786356" y="2389569"/>
            <a:ext cx="3096344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1600" b="1" dirty="0">
                <a:solidFill>
                  <a:schemeClr val="bg2"/>
                </a:solidFill>
                <a:latin typeface="+mn-ea"/>
              </a:rPr>
              <a:t>容器网络</a:t>
            </a:r>
            <a:endParaRPr lang="en-US" altLang="zh-CN" sz="1600" b="1" dirty="0">
              <a:solidFill>
                <a:schemeClr val="bg2"/>
              </a:solidFill>
            </a:endParaRPr>
          </a:p>
        </p:txBody>
      </p:sp>
      <p:sp>
        <p:nvSpPr>
          <p:cNvPr id="5" name="íṥ1íḓê">
            <a:extLst>
              <a:ext uri="{FF2B5EF4-FFF2-40B4-BE49-F238E27FC236}">
                <a16:creationId xmlns:a16="http://schemas.microsoft.com/office/drawing/2014/main" id="{0C2C2215-0ADA-104B-B14D-DC525400664C}"/>
              </a:ext>
            </a:extLst>
          </p:cNvPr>
          <p:cNvSpPr txBox="1"/>
          <p:nvPr/>
        </p:nvSpPr>
        <p:spPr>
          <a:xfrm>
            <a:off x="6519650" y="2831473"/>
            <a:ext cx="3900194" cy="17543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Autofit/>
          </a:bodyPr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以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VC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的方式挂载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BS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云硬盘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以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olume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的方式挂载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FS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云文件系统，支持多个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同时挂载一个文件系统，实现存储共享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访问同网络环境的 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S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对象存储</a:t>
            </a:r>
            <a:endParaRPr lang="en-US" altLang="zh-CN" sz="1200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iślïdé">
            <a:extLst>
              <a:ext uri="{FF2B5EF4-FFF2-40B4-BE49-F238E27FC236}">
                <a16:creationId xmlns:a16="http://schemas.microsoft.com/office/drawing/2014/main" id="{E5B4E7D2-A96E-DB4C-A66B-CA9DCA2656C4}"/>
              </a:ext>
            </a:extLst>
          </p:cNvPr>
          <p:cNvSpPr txBox="1"/>
          <p:nvPr/>
        </p:nvSpPr>
        <p:spPr>
          <a:xfrm>
            <a:off x="7525490" y="2389569"/>
            <a:ext cx="3096344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>
            <a:defPPr>
              <a:defRPr lang="zh-CN"/>
            </a:defPPr>
            <a:lvl1pPr>
              <a:defRPr sz="1400" b="1">
                <a:solidFill>
                  <a:schemeClr val="accent1"/>
                </a:solidFill>
              </a:defRPr>
            </a:lvl1pPr>
          </a:lstStyle>
          <a:p>
            <a:pPr>
              <a:spcBef>
                <a:spcPct val="0"/>
              </a:spcBef>
            </a:pPr>
            <a:r>
              <a:rPr lang="zh-CN" altLang="en-US" sz="1600" dirty="0">
                <a:solidFill>
                  <a:schemeClr val="bg2"/>
                </a:solidFill>
                <a:latin typeface="+mn-ea"/>
              </a:rPr>
              <a:t>存储能力</a:t>
            </a:r>
            <a:endParaRPr lang="en-US" altLang="zh-CN" sz="1600" dirty="0">
              <a:solidFill>
                <a:schemeClr val="bg2"/>
              </a:solidFill>
            </a:endParaRPr>
          </a:p>
        </p:txBody>
      </p:sp>
      <p:sp>
        <p:nvSpPr>
          <p:cNvPr id="8" name="data-storage_354025">
            <a:extLst>
              <a:ext uri="{FF2B5EF4-FFF2-40B4-BE49-F238E27FC236}">
                <a16:creationId xmlns:a16="http://schemas.microsoft.com/office/drawing/2014/main" id="{B0463BDC-8040-6140-BC92-D01A2DB8BD02}"/>
              </a:ext>
            </a:extLst>
          </p:cNvPr>
          <p:cNvSpPr>
            <a:spLocks noChangeAspect="1"/>
          </p:cNvSpPr>
          <p:nvPr/>
        </p:nvSpPr>
        <p:spPr bwMode="auto">
          <a:xfrm>
            <a:off x="7669165" y="1781309"/>
            <a:ext cx="579566" cy="507091"/>
          </a:xfrm>
          <a:custGeom>
            <a:avLst/>
            <a:gdLst>
              <a:gd name="connsiteX0" fmla="*/ 110996 w 607639"/>
              <a:gd name="connsiteY0" fmla="*/ 374914 h 505390"/>
              <a:gd name="connsiteX1" fmla="*/ 120520 w 607639"/>
              <a:gd name="connsiteY1" fmla="*/ 384425 h 505390"/>
              <a:gd name="connsiteX2" fmla="*/ 202314 w 607639"/>
              <a:gd name="connsiteY2" fmla="*/ 466115 h 505390"/>
              <a:gd name="connsiteX3" fmla="*/ 211837 w 607639"/>
              <a:gd name="connsiteY3" fmla="*/ 475626 h 505390"/>
              <a:gd name="connsiteX4" fmla="*/ 202314 w 607639"/>
              <a:gd name="connsiteY4" fmla="*/ 485137 h 505390"/>
              <a:gd name="connsiteX5" fmla="*/ 101473 w 607639"/>
              <a:gd name="connsiteY5" fmla="*/ 384425 h 505390"/>
              <a:gd name="connsiteX6" fmla="*/ 110996 w 607639"/>
              <a:gd name="connsiteY6" fmla="*/ 374914 h 505390"/>
              <a:gd name="connsiteX7" fmla="*/ 541939 w 607639"/>
              <a:gd name="connsiteY7" fmla="*/ 371491 h 505390"/>
              <a:gd name="connsiteX8" fmla="*/ 567064 w 607639"/>
              <a:gd name="connsiteY8" fmla="*/ 414826 h 505390"/>
              <a:gd name="connsiteX9" fmla="*/ 557531 w 607639"/>
              <a:gd name="connsiteY9" fmla="*/ 424239 h 505390"/>
              <a:gd name="connsiteX10" fmla="*/ 547998 w 607639"/>
              <a:gd name="connsiteY10" fmla="*/ 414826 h 505390"/>
              <a:gd name="connsiteX11" fmla="*/ 532406 w 607639"/>
              <a:gd name="connsiteY11" fmla="*/ 387919 h 505390"/>
              <a:gd name="connsiteX12" fmla="*/ 528932 w 607639"/>
              <a:gd name="connsiteY12" fmla="*/ 374954 h 505390"/>
              <a:gd name="connsiteX13" fmla="*/ 541939 w 607639"/>
              <a:gd name="connsiteY13" fmla="*/ 371491 h 505390"/>
              <a:gd name="connsiteX14" fmla="*/ 415384 w 607639"/>
              <a:gd name="connsiteY14" fmla="*/ 303996 h 505390"/>
              <a:gd name="connsiteX15" fmla="*/ 484426 w 607639"/>
              <a:gd name="connsiteY15" fmla="*/ 342940 h 505390"/>
              <a:gd name="connsiteX16" fmla="*/ 481223 w 607639"/>
              <a:gd name="connsiteY16" fmla="*/ 356010 h 505390"/>
              <a:gd name="connsiteX17" fmla="*/ 476329 w 607639"/>
              <a:gd name="connsiteY17" fmla="*/ 357344 h 505390"/>
              <a:gd name="connsiteX18" fmla="*/ 468144 w 607639"/>
              <a:gd name="connsiteY18" fmla="*/ 352720 h 505390"/>
              <a:gd name="connsiteX19" fmla="*/ 415384 w 607639"/>
              <a:gd name="connsiteY19" fmla="*/ 322935 h 505390"/>
              <a:gd name="connsiteX20" fmla="*/ 397857 w 607639"/>
              <a:gd name="connsiteY20" fmla="*/ 325513 h 505390"/>
              <a:gd name="connsiteX21" fmla="*/ 386024 w 607639"/>
              <a:gd name="connsiteY21" fmla="*/ 319111 h 505390"/>
              <a:gd name="connsiteX22" fmla="*/ 392429 w 607639"/>
              <a:gd name="connsiteY22" fmla="*/ 307286 h 505390"/>
              <a:gd name="connsiteX23" fmla="*/ 415384 w 607639"/>
              <a:gd name="connsiteY23" fmla="*/ 303996 h 505390"/>
              <a:gd name="connsiteX24" fmla="*/ 415374 w 607639"/>
              <a:gd name="connsiteY24" fmla="*/ 282437 h 505390"/>
              <a:gd name="connsiteX25" fmla="*/ 324493 w 607639"/>
              <a:gd name="connsiteY25" fmla="*/ 338153 h 505390"/>
              <a:gd name="connsiteX26" fmla="*/ 315770 w 607639"/>
              <a:gd name="connsiteY26" fmla="*/ 343307 h 505390"/>
              <a:gd name="connsiteX27" fmla="*/ 314435 w 607639"/>
              <a:gd name="connsiteY27" fmla="*/ 343307 h 505390"/>
              <a:gd name="connsiteX28" fmla="*/ 313901 w 607639"/>
              <a:gd name="connsiteY28" fmla="*/ 343218 h 505390"/>
              <a:gd name="connsiteX29" fmla="*/ 242246 w 607639"/>
              <a:gd name="connsiteY29" fmla="*/ 414840 h 505390"/>
              <a:gd name="connsiteX30" fmla="*/ 313901 w 607639"/>
              <a:gd name="connsiteY30" fmla="*/ 486374 h 505390"/>
              <a:gd name="connsiteX31" fmla="*/ 516936 w 607639"/>
              <a:gd name="connsiteY31" fmla="*/ 486374 h 505390"/>
              <a:gd name="connsiteX32" fmla="*/ 588591 w 607639"/>
              <a:gd name="connsiteY32" fmla="*/ 414840 h 505390"/>
              <a:gd name="connsiteX33" fmla="*/ 516936 w 607639"/>
              <a:gd name="connsiteY33" fmla="*/ 343218 h 505390"/>
              <a:gd name="connsiteX34" fmla="*/ 516402 w 607639"/>
              <a:gd name="connsiteY34" fmla="*/ 343307 h 505390"/>
              <a:gd name="connsiteX35" fmla="*/ 515067 w 607639"/>
              <a:gd name="connsiteY35" fmla="*/ 343307 h 505390"/>
              <a:gd name="connsiteX36" fmla="*/ 506344 w 607639"/>
              <a:gd name="connsiteY36" fmla="*/ 338153 h 505390"/>
              <a:gd name="connsiteX37" fmla="*/ 415374 w 607639"/>
              <a:gd name="connsiteY37" fmla="*/ 282437 h 505390"/>
              <a:gd name="connsiteX38" fmla="*/ 210679 w 607639"/>
              <a:gd name="connsiteY38" fmla="*/ 267382 h 505390"/>
              <a:gd name="connsiteX39" fmla="*/ 221797 w 607639"/>
              <a:gd name="connsiteY39" fmla="*/ 274860 h 505390"/>
              <a:gd name="connsiteX40" fmla="*/ 214326 w 607639"/>
              <a:gd name="connsiteY40" fmla="*/ 286076 h 505390"/>
              <a:gd name="connsiteX41" fmla="*/ 193424 w 607639"/>
              <a:gd name="connsiteY41" fmla="*/ 289370 h 505390"/>
              <a:gd name="connsiteX42" fmla="*/ 192179 w 607639"/>
              <a:gd name="connsiteY42" fmla="*/ 289459 h 505390"/>
              <a:gd name="connsiteX43" fmla="*/ 182752 w 607639"/>
              <a:gd name="connsiteY43" fmla="*/ 281180 h 505390"/>
              <a:gd name="connsiteX44" fmla="*/ 190934 w 607639"/>
              <a:gd name="connsiteY44" fmla="*/ 270498 h 505390"/>
              <a:gd name="connsiteX45" fmla="*/ 210679 w 607639"/>
              <a:gd name="connsiteY45" fmla="*/ 267382 h 505390"/>
              <a:gd name="connsiteX46" fmla="*/ 415463 w 607639"/>
              <a:gd name="connsiteY46" fmla="*/ 263421 h 505390"/>
              <a:gd name="connsiteX47" fmla="*/ 520497 w 607639"/>
              <a:gd name="connsiteY47" fmla="*/ 324291 h 505390"/>
              <a:gd name="connsiteX48" fmla="*/ 607639 w 607639"/>
              <a:gd name="connsiteY48" fmla="*/ 414840 h 505390"/>
              <a:gd name="connsiteX49" fmla="*/ 516936 w 607639"/>
              <a:gd name="connsiteY49" fmla="*/ 505390 h 505390"/>
              <a:gd name="connsiteX50" fmla="*/ 313901 w 607639"/>
              <a:gd name="connsiteY50" fmla="*/ 505390 h 505390"/>
              <a:gd name="connsiteX51" fmla="*/ 223198 w 607639"/>
              <a:gd name="connsiteY51" fmla="*/ 414840 h 505390"/>
              <a:gd name="connsiteX52" fmla="*/ 310340 w 607639"/>
              <a:gd name="connsiteY52" fmla="*/ 324291 h 505390"/>
              <a:gd name="connsiteX53" fmla="*/ 415463 w 607639"/>
              <a:gd name="connsiteY53" fmla="*/ 263421 h 505390"/>
              <a:gd name="connsiteX54" fmla="*/ 210679 w 607639"/>
              <a:gd name="connsiteY54" fmla="*/ 206622 h 505390"/>
              <a:gd name="connsiteX55" fmla="*/ 221797 w 607639"/>
              <a:gd name="connsiteY55" fmla="*/ 214077 h 505390"/>
              <a:gd name="connsiteX56" fmla="*/ 214326 w 607639"/>
              <a:gd name="connsiteY56" fmla="*/ 225171 h 505390"/>
              <a:gd name="connsiteX57" fmla="*/ 193424 w 607639"/>
              <a:gd name="connsiteY57" fmla="*/ 228543 h 505390"/>
              <a:gd name="connsiteX58" fmla="*/ 192179 w 607639"/>
              <a:gd name="connsiteY58" fmla="*/ 228632 h 505390"/>
              <a:gd name="connsiteX59" fmla="*/ 182752 w 607639"/>
              <a:gd name="connsiteY59" fmla="*/ 220378 h 505390"/>
              <a:gd name="connsiteX60" fmla="*/ 190934 w 607639"/>
              <a:gd name="connsiteY60" fmla="*/ 209728 h 505390"/>
              <a:gd name="connsiteX61" fmla="*/ 210679 w 607639"/>
              <a:gd name="connsiteY61" fmla="*/ 206622 h 505390"/>
              <a:gd name="connsiteX62" fmla="*/ 210679 w 607639"/>
              <a:gd name="connsiteY62" fmla="*/ 145865 h 505390"/>
              <a:gd name="connsiteX63" fmla="*/ 221797 w 607639"/>
              <a:gd name="connsiteY63" fmla="*/ 153320 h 505390"/>
              <a:gd name="connsiteX64" fmla="*/ 214326 w 607639"/>
              <a:gd name="connsiteY64" fmla="*/ 164414 h 505390"/>
              <a:gd name="connsiteX65" fmla="*/ 193424 w 607639"/>
              <a:gd name="connsiteY65" fmla="*/ 167786 h 505390"/>
              <a:gd name="connsiteX66" fmla="*/ 192179 w 607639"/>
              <a:gd name="connsiteY66" fmla="*/ 167875 h 505390"/>
              <a:gd name="connsiteX67" fmla="*/ 182752 w 607639"/>
              <a:gd name="connsiteY67" fmla="*/ 159621 h 505390"/>
              <a:gd name="connsiteX68" fmla="*/ 190934 w 607639"/>
              <a:gd name="connsiteY68" fmla="*/ 148971 h 505390"/>
              <a:gd name="connsiteX69" fmla="*/ 210679 w 607639"/>
              <a:gd name="connsiteY69" fmla="*/ 145865 h 505390"/>
              <a:gd name="connsiteX70" fmla="*/ 313942 w 607639"/>
              <a:gd name="connsiteY70" fmla="*/ 131675 h 505390"/>
              <a:gd name="connsiteX71" fmla="*/ 414783 w 607639"/>
              <a:gd name="connsiteY71" fmla="*/ 232387 h 505390"/>
              <a:gd name="connsiteX72" fmla="*/ 405260 w 607639"/>
              <a:gd name="connsiteY72" fmla="*/ 241898 h 505390"/>
              <a:gd name="connsiteX73" fmla="*/ 395825 w 607639"/>
              <a:gd name="connsiteY73" fmla="*/ 232387 h 505390"/>
              <a:gd name="connsiteX74" fmla="*/ 313942 w 607639"/>
              <a:gd name="connsiteY74" fmla="*/ 150697 h 505390"/>
              <a:gd name="connsiteX75" fmla="*/ 304419 w 607639"/>
              <a:gd name="connsiteY75" fmla="*/ 141186 h 505390"/>
              <a:gd name="connsiteX76" fmla="*/ 313942 w 607639"/>
              <a:gd name="connsiteY76" fmla="*/ 131675 h 505390"/>
              <a:gd name="connsiteX77" fmla="*/ 141413 w 607639"/>
              <a:gd name="connsiteY77" fmla="*/ 19017 h 505390"/>
              <a:gd name="connsiteX78" fmla="*/ 50905 w 607639"/>
              <a:gd name="connsiteY78" fmla="*/ 30480 h 505390"/>
              <a:gd name="connsiteX79" fmla="*/ 19045 w 607639"/>
              <a:gd name="connsiteY79" fmla="*/ 50030 h 505390"/>
              <a:gd name="connsiteX80" fmla="*/ 50905 w 607639"/>
              <a:gd name="connsiteY80" fmla="*/ 69580 h 505390"/>
              <a:gd name="connsiteX81" fmla="*/ 141413 w 607639"/>
              <a:gd name="connsiteY81" fmla="*/ 81043 h 505390"/>
              <a:gd name="connsiteX82" fmla="*/ 231921 w 607639"/>
              <a:gd name="connsiteY82" fmla="*/ 69580 h 505390"/>
              <a:gd name="connsiteX83" fmla="*/ 263781 w 607639"/>
              <a:gd name="connsiteY83" fmla="*/ 50030 h 505390"/>
              <a:gd name="connsiteX84" fmla="*/ 231921 w 607639"/>
              <a:gd name="connsiteY84" fmla="*/ 30480 h 505390"/>
              <a:gd name="connsiteX85" fmla="*/ 141413 w 607639"/>
              <a:gd name="connsiteY85" fmla="*/ 19017 h 505390"/>
              <a:gd name="connsiteX86" fmla="*/ 141413 w 607639"/>
              <a:gd name="connsiteY86" fmla="*/ 0 h 505390"/>
              <a:gd name="connsiteX87" fmla="*/ 237528 w 607639"/>
              <a:gd name="connsiteY87" fmla="*/ 12263 h 505390"/>
              <a:gd name="connsiteX88" fmla="*/ 282826 w 607639"/>
              <a:gd name="connsiteY88" fmla="*/ 50030 h 505390"/>
              <a:gd name="connsiteX89" fmla="*/ 282826 w 607639"/>
              <a:gd name="connsiteY89" fmla="*/ 293160 h 505390"/>
              <a:gd name="connsiteX90" fmla="*/ 273304 w 607639"/>
              <a:gd name="connsiteY90" fmla="*/ 302669 h 505390"/>
              <a:gd name="connsiteX91" fmla="*/ 263781 w 607639"/>
              <a:gd name="connsiteY91" fmla="*/ 293160 h 505390"/>
              <a:gd name="connsiteX92" fmla="*/ 263781 w 607639"/>
              <a:gd name="connsiteY92" fmla="*/ 269078 h 505390"/>
              <a:gd name="connsiteX93" fmla="*/ 257195 w 607639"/>
              <a:gd name="connsiteY93" fmla="*/ 272722 h 505390"/>
              <a:gd name="connsiteX94" fmla="*/ 253013 w 607639"/>
              <a:gd name="connsiteY94" fmla="*/ 273610 h 505390"/>
              <a:gd name="connsiteX95" fmla="*/ 244469 w 607639"/>
              <a:gd name="connsiteY95" fmla="*/ 268279 h 505390"/>
              <a:gd name="connsiteX96" fmla="*/ 248830 w 607639"/>
              <a:gd name="connsiteY96" fmla="*/ 255571 h 505390"/>
              <a:gd name="connsiteX97" fmla="*/ 263781 w 607639"/>
              <a:gd name="connsiteY97" fmla="*/ 242508 h 505390"/>
              <a:gd name="connsiteX98" fmla="*/ 263781 w 607639"/>
              <a:gd name="connsiteY98" fmla="*/ 208296 h 505390"/>
              <a:gd name="connsiteX99" fmla="*/ 257195 w 607639"/>
              <a:gd name="connsiteY99" fmla="*/ 211850 h 505390"/>
              <a:gd name="connsiteX100" fmla="*/ 253013 w 607639"/>
              <a:gd name="connsiteY100" fmla="*/ 212828 h 505390"/>
              <a:gd name="connsiteX101" fmla="*/ 244469 w 607639"/>
              <a:gd name="connsiteY101" fmla="*/ 207496 h 505390"/>
              <a:gd name="connsiteX102" fmla="*/ 248830 w 607639"/>
              <a:gd name="connsiteY102" fmla="*/ 194789 h 505390"/>
              <a:gd name="connsiteX103" fmla="*/ 263781 w 607639"/>
              <a:gd name="connsiteY103" fmla="*/ 181726 h 505390"/>
              <a:gd name="connsiteX104" fmla="*/ 263781 w 607639"/>
              <a:gd name="connsiteY104" fmla="*/ 147513 h 505390"/>
              <a:gd name="connsiteX105" fmla="*/ 257195 w 607639"/>
              <a:gd name="connsiteY105" fmla="*/ 151068 h 505390"/>
              <a:gd name="connsiteX106" fmla="*/ 253013 w 607639"/>
              <a:gd name="connsiteY106" fmla="*/ 152045 h 505390"/>
              <a:gd name="connsiteX107" fmla="*/ 244469 w 607639"/>
              <a:gd name="connsiteY107" fmla="*/ 146714 h 505390"/>
              <a:gd name="connsiteX108" fmla="*/ 248830 w 607639"/>
              <a:gd name="connsiteY108" fmla="*/ 134006 h 505390"/>
              <a:gd name="connsiteX109" fmla="*/ 263781 w 607639"/>
              <a:gd name="connsiteY109" fmla="*/ 120943 h 505390"/>
              <a:gd name="connsiteX110" fmla="*/ 263781 w 607639"/>
              <a:gd name="connsiteY110" fmla="*/ 76600 h 505390"/>
              <a:gd name="connsiteX111" fmla="*/ 237528 w 607639"/>
              <a:gd name="connsiteY111" fmla="*/ 87797 h 505390"/>
              <a:gd name="connsiteX112" fmla="*/ 141413 w 607639"/>
              <a:gd name="connsiteY112" fmla="*/ 100060 h 505390"/>
              <a:gd name="connsiteX113" fmla="*/ 45387 w 607639"/>
              <a:gd name="connsiteY113" fmla="*/ 87797 h 505390"/>
              <a:gd name="connsiteX114" fmla="*/ 19045 w 607639"/>
              <a:gd name="connsiteY114" fmla="*/ 76600 h 505390"/>
              <a:gd name="connsiteX115" fmla="*/ 19045 w 607639"/>
              <a:gd name="connsiteY115" fmla="*/ 120943 h 505390"/>
              <a:gd name="connsiteX116" fmla="*/ 50905 w 607639"/>
              <a:gd name="connsiteY116" fmla="*/ 140493 h 505390"/>
              <a:gd name="connsiteX117" fmla="*/ 141413 w 607639"/>
              <a:gd name="connsiteY117" fmla="*/ 151956 h 505390"/>
              <a:gd name="connsiteX118" fmla="*/ 151380 w 607639"/>
              <a:gd name="connsiteY118" fmla="*/ 151868 h 505390"/>
              <a:gd name="connsiteX119" fmla="*/ 161081 w 607639"/>
              <a:gd name="connsiteY119" fmla="*/ 161109 h 505390"/>
              <a:gd name="connsiteX120" fmla="*/ 151825 w 607639"/>
              <a:gd name="connsiteY120" fmla="*/ 170884 h 505390"/>
              <a:gd name="connsiteX121" fmla="*/ 141413 w 607639"/>
              <a:gd name="connsiteY121" fmla="*/ 170973 h 505390"/>
              <a:gd name="connsiteX122" fmla="*/ 45387 w 607639"/>
              <a:gd name="connsiteY122" fmla="*/ 158710 h 505390"/>
              <a:gd name="connsiteX123" fmla="*/ 19045 w 607639"/>
              <a:gd name="connsiteY123" fmla="*/ 147513 h 505390"/>
              <a:gd name="connsiteX124" fmla="*/ 19045 w 607639"/>
              <a:gd name="connsiteY124" fmla="*/ 181726 h 505390"/>
              <a:gd name="connsiteX125" fmla="*/ 50905 w 607639"/>
              <a:gd name="connsiteY125" fmla="*/ 201365 h 505390"/>
              <a:gd name="connsiteX126" fmla="*/ 141413 w 607639"/>
              <a:gd name="connsiteY126" fmla="*/ 212739 h 505390"/>
              <a:gd name="connsiteX127" fmla="*/ 151380 w 607639"/>
              <a:gd name="connsiteY127" fmla="*/ 212650 h 505390"/>
              <a:gd name="connsiteX128" fmla="*/ 161081 w 607639"/>
              <a:gd name="connsiteY128" fmla="*/ 221892 h 505390"/>
              <a:gd name="connsiteX129" fmla="*/ 151825 w 607639"/>
              <a:gd name="connsiteY129" fmla="*/ 231667 h 505390"/>
              <a:gd name="connsiteX130" fmla="*/ 141413 w 607639"/>
              <a:gd name="connsiteY130" fmla="*/ 231756 h 505390"/>
              <a:gd name="connsiteX131" fmla="*/ 45387 w 607639"/>
              <a:gd name="connsiteY131" fmla="*/ 219493 h 505390"/>
              <a:gd name="connsiteX132" fmla="*/ 19045 w 607639"/>
              <a:gd name="connsiteY132" fmla="*/ 208296 h 505390"/>
              <a:gd name="connsiteX133" fmla="*/ 19045 w 607639"/>
              <a:gd name="connsiteY133" fmla="*/ 242508 h 505390"/>
              <a:gd name="connsiteX134" fmla="*/ 50905 w 607639"/>
              <a:gd name="connsiteY134" fmla="*/ 262147 h 505390"/>
              <a:gd name="connsiteX135" fmla="*/ 141413 w 607639"/>
              <a:gd name="connsiteY135" fmla="*/ 273610 h 505390"/>
              <a:gd name="connsiteX136" fmla="*/ 151380 w 607639"/>
              <a:gd name="connsiteY136" fmla="*/ 273433 h 505390"/>
              <a:gd name="connsiteX137" fmla="*/ 161081 w 607639"/>
              <a:gd name="connsiteY137" fmla="*/ 282763 h 505390"/>
              <a:gd name="connsiteX138" fmla="*/ 151825 w 607639"/>
              <a:gd name="connsiteY138" fmla="*/ 292450 h 505390"/>
              <a:gd name="connsiteX139" fmla="*/ 141413 w 607639"/>
              <a:gd name="connsiteY139" fmla="*/ 292538 h 505390"/>
              <a:gd name="connsiteX140" fmla="*/ 45387 w 607639"/>
              <a:gd name="connsiteY140" fmla="*/ 280275 h 505390"/>
              <a:gd name="connsiteX141" fmla="*/ 19045 w 607639"/>
              <a:gd name="connsiteY141" fmla="*/ 269078 h 505390"/>
              <a:gd name="connsiteX142" fmla="*/ 19045 w 607639"/>
              <a:gd name="connsiteY142" fmla="*/ 303291 h 505390"/>
              <a:gd name="connsiteX143" fmla="*/ 50905 w 607639"/>
              <a:gd name="connsiteY143" fmla="*/ 322930 h 505390"/>
              <a:gd name="connsiteX144" fmla="*/ 141413 w 607639"/>
              <a:gd name="connsiteY144" fmla="*/ 334393 h 505390"/>
              <a:gd name="connsiteX145" fmla="*/ 210651 w 607639"/>
              <a:gd name="connsiteY145" fmla="*/ 328173 h 505390"/>
              <a:gd name="connsiteX146" fmla="*/ 221775 w 607639"/>
              <a:gd name="connsiteY146" fmla="*/ 335637 h 505390"/>
              <a:gd name="connsiteX147" fmla="*/ 214300 w 607639"/>
              <a:gd name="connsiteY147" fmla="*/ 346834 h 505390"/>
              <a:gd name="connsiteX148" fmla="*/ 141413 w 607639"/>
              <a:gd name="connsiteY148" fmla="*/ 353321 h 505390"/>
              <a:gd name="connsiteX149" fmla="*/ 45387 w 607639"/>
              <a:gd name="connsiteY149" fmla="*/ 341058 h 505390"/>
              <a:gd name="connsiteX150" fmla="*/ 0 w 607639"/>
              <a:gd name="connsiteY150" fmla="*/ 303291 h 505390"/>
              <a:gd name="connsiteX151" fmla="*/ 0 w 607639"/>
              <a:gd name="connsiteY151" fmla="*/ 50030 h 505390"/>
              <a:gd name="connsiteX152" fmla="*/ 45387 w 607639"/>
              <a:gd name="connsiteY152" fmla="*/ 12263 h 505390"/>
              <a:gd name="connsiteX153" fmla="*/ 141413 w 607639"/>
              <a:gd name="connsiteY153" fmla="*/ 0 h 505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07639" h="505390">
                <a:moveTo>
                  <a:pt x="110996" y="374914"/>
                </a:moveTo>
                <a:cubicBezTo>
                  <a:pt x="116248" y="374914"/>
                  <a:pt x="120520" y="379181"/>
                  <a:pt x="120520" y="384425"/>
                </a:cubicBezTo>
                <a:cubicBezTo>
                  <a:pt x="120520" y="429403"/>
                  <a:pt x="157189" y="466115"/>
                  <a:pt x="202314" y="466115"/>
                </a:cubicBezTo>
                <a:cubicBezTo>
                  <a:pt x="207565" y="466115"/>
                  <a:pt x="211837" y="470381"/>
                  <a:pt x="211837" y="475626"/>
                </a:cubicBezTo>
                <a:cubicBezTo>
                  <a:pt x="211837" y="480870"/>
                  <a:pt x="207565" y="485137"/>
                  <a:pt x="202314" y="485137"/>
                </a:cubicBezTo>
                <a:cubicBezTo>
                  <a:pt x="146687" y="485137"/>
                  <a:pt x="101473" y="439892"/>
                  <a:pt x="101473" y="384425"/>
                </a:cubicBezTo>
                <a:cubicBezTo>
                  <a:pt x="101473" y="379092"/>
                  <a:pt x="105745" y="374914"/>
                  <a:pt x="110996" y="374914"/>
                </a:cubicBezTo>
                <a:close/>
                <a:moveTo>
                  <a:pt x="541939" y="371491"/>
                </a:moveTo>
                <a:cubicBezTo>
                  <a:pt x="557442" y="380460"/>
                  <a:pt x="567064" y="396977"/>
                  <a:pt x="567064" y="414826"/>
                </a:cubicBezTo>
                <a:cubicBezTo>
                  <a:pt x="567064" y="420065"/>
                  <a:pt x="562787" y="424239"/>
                  <a:pt x="557531" y="424239"/>
                </a:cubicBezTo>
                <a:cubicBezTo>
                  <a:pt x="552274" y="424239"/>
                  <a:pt x="547998" y="420065"/>
                  <a:pt x="547998" y="414826"/>
                </a:cubicBezTo>
                <a:cubicBezTo>
                  <a:pt x="547998" y="403726"/>
                  <a:pt x="542029" y="393425"/>
                  <a:pt x="532406" y="387919"/>
                </a:cubicBezTo>
                <a:cubicBezTo>
                  <a:pt x="527863" y="385344"/>
                  <a:pt x="526348" y="379483"/>
                  <a:pt x="528932" y="374954"/>
                </a:cubicBezTo>
                <a:cubicBezTo>
                  <a:pt x="531605" y="370426"/>
                  <a:pt x="537396" y="368916"/>
                  <a:pt x="541939" y="371491"/>
                </a:cubicBezTo>
                <a:close/>
                <a:moveTo>
                  <a:pt x="415384" y="303996"/>
                </a:moveTo>
                <a:cubicBezTo>
                  <a:pt x="443944" y="303996"/>
                  <a:pt x="469746" y="318489"/>
                  <a:pt x="484426" y="342940"/>
                </a:cubicBezTo>
                <a:cubicBezTo>
                  <a:pt x="487184" y="347475"/>
                  <a:pt x="485671" y="353254"/>
                  <a:pt x="481223" y="356010"/>
                </a:cubicBezTo>
                <a:cubicBezTo>
                  <a:pt x="479621" y="356899"/>
                  <a:pt x="477931" y="357344"/>
                  <a:pt x="476329" y="357344"/>
                </a:cubicBezTo>
                <a:cubicBezTo>
                  <a:pt x="473038" y="357344"/>
                  <a:pt x="469924" y="355744"/>
                  <a:pt x="468144" y="352720"/>
                </a:cubicBezTo>
                <a:cubicBezTo>
                  <a:pt x="456934" y="334138"/>
                  <a:pt x="437182" y="322935"/>
                  <a:pt x="415384" y="322935"/>
                </a:cubicBezTo>
                <a:cubicBezTo>
                  <a:pt x="409423" y="322935"/>
                  <a:pt x="403551" y="323824"/>
                  <a:pt x="397857" y="325513"/>
                </a:cubicBezTo>
                <a:cubicBezTo>
                  <a:pt x="392785" y="327025"/>
                  <a:pt x="387536" y="324179"/>
                  <a:pt x="386024" y="319111"/>
                </a:cubicBezTo>
                <a:cubicBezTo>
                  <a:pt x="384511" y="314043"/>
                  <a:pt x="387358" y="308797"/>
                  <a:pt x="392429" y="307286"/>
                </a:cubicBezTo>
                <a:cubicBezTo>
                  <a:pt x="399903" y="305063"/>
                  <a:pt x="407644" y="303996"/>
                  <a:pt x="415384" y="303996"/>
                </a:cubicBezTo>
                <a:close/>
                <a:moveTo>
                  <a:pt x="415374" y="282437"/>
                </a:moveTo>
                <a:cubicBezTo>
                  <a:pt x="376921" y="282437"/>
                  <a:pt x="342028" y="303853"/>
                  <a:pt x="324493" y="338153"/>
                </a:cubicBezTo>
                <a:cubicBezTo>
                  <a:pt x="322802" y="341441"/>
                  <a:pt x="319420" y="343396"/>
                  <a:pt x="315770" y="343307"/>
                </a:cubicBezTo>
                <a:cubicBezTo>
                  <a:pt x="315325" y="343307"/>
                  <a:pt x="314880" y="343307"/>
                  <a:pt x="314435" y="343307"/>
                </a:cubicBezTo>
                <a:cubicBezTo>
                  <a:pt x="314257" y="343307"/>
                  <a:pt x="314079" y="343218"/>
                  <a:pt x="313901" y="343218"/>
                </a:cubicBezTo>
                <a:cubicBezTo>
                  <a:pt x="274380" y="343218"/>
                  <a:pt x="242246" y="375386"/>
                  <a:pt x="242246" y="414840"/>
                </a:cubicBezTo>
                <a:cubicBezTo>
                  <a:pt x="242246" y="454295"/>
                  <a:pt x="274380" y="486374"/>
                  <a:pt x="313901" y="486374"/>
                </a:cubicBezTo>
                <a:lnTo>
                  <a:pt x="516936" y="486374"/>
                </a:lnTo>
                <a:cubicBezTo>
                  <a:pt x="556457" y="486374"/>
                  <a:pt x="588591" y="454295"/>
                  <a:pt x="588591" y="414840"/>
                </a:cubicBezTo>
                <a:cubicBezTo>
                  <a:pt x="588591" y="375386"/>
                  <a:pt x="556457" y="343218"/>
                  <a:pt x="516936" y="343218"/>
                </a:cubicBezTo>
                <a:cubicBezTo>
                  <a:pt x="516758" y="343218"/>
                  <a:pt x="516580" y="343307"/>
                  <a:pt x="516402" y="343307"/>
                </a:cubicBezTo>
                <a:cubicBezTo>
                  <a:pt x="515957" y="343307"/>
                  <a:pt x="515512" y="343307"/>
                  <a:pt x="515067" y="343307"/>
                </a:cubicBezTo>
                <a:cubicBezTo>
                  <a:pt x="511417" y="343396"/>
                  <a:pt x="508035" y="341441"/>
                  <a:pt x="506344" y="338153"/>
                </a:cubicBezTo>
                <a:cubicBezTo>
                  <a:pt x="488809" y="303764"/>
                  <a:pt x="453916" y="282437"/>
                  <a:pt x="415374" y="282437"/>
                </a:cubicBezTo>
                <a:close/>
                <a:moveTo>
                  <a:pt x="210679" y="267382"/>
                </a:moveTo>
                <a:cubicBezTo>
                  <a:pt x="215749" y="266314"/>
                  <a:pt x="220818" y="269697"/>
                  <a:pt x="221797" y="274860"/>
                </a:cubicBezTo>
                <a:cubicBezTo>
                  <a:pt x="222775" y="280023"/>
                  <a:pt x="219484" y="285008"/>
                  <a:pt x="214326" y="286076"/>
                </a:cubicBezTo>
                <a:cubicBezTo>
                  <a:pt x="207655" y="287323"/>
                  <a:pt x="200629" y="288480"/>
                  <a:pt x="193424" y="289370"/>
                </a:cubicBezTo>
                <a:cubicBezTo>
                  <a:pt x="192980" y="289459"/>
                  <a:pt x="192535" y="289459"/>
                  <a:pt x="192179" y="289459"/>
                </a:cubicBezTo>
                <a:cubicBezTo>
                  <a:pt x="187465" y="289459"/>
                  <a:pt x="183374" y="285987"/>
                  <a:pt x="182752" y="281180"/>
                </a:cubicBezTo>
                <a:cubicBezTo>
                  <a:pt x="182129" y="275928"/>
                  <a:pt x="185776" y="271210"/>
                  <a:pt x="190934" y="270498"/>
                </a:cubicBezTo>
                <a:cubicBezTo>
                  <a:pt x="197783" y="269697"/>
                  <a:pt x="204453" y="268628"/>
                  <a:pt x="210679" y="267382"/>
                </a:cubicBezTo>
                <a:close/>
                <a:moveTo>
                  <a:pt x="415463" y="263421"/>
                </a:moveTo>
                <a:cubicBezTo>
                  <a:pt x="459168" y="263421"/>
                  <a:pt x="498867" y="286614"/>
                  <a:pt x="520497" y="324291"/>
                </a:cubicBezTo>
                <a:cubicBezTo>
                  <a:pt x="568830" y="326157"/>
                  <a:pt x="607639" y="366056"/>
                  <a:pt x="607639" y="414840"/>
                </a:cubicBezTo>
                <a:cubicBezTo>
                  <a:pt x="607639" y="464692"/>
                  <a:pt x="566961" y="505390"/>
                  <a:pt x="516936" y="505390"/>
                </a:cubicBezTo>
                <a:lnTo>
                  <a:pt x="313901" y="505390"/>
                </a:lnTo>
                <a:cubicBezTo>
                  <a:pt x="263876" y="505390"/>
                  <a:pt x="223198" y="464692"/>
                  <a:pt x="223198" y="414840"/>
                </a:cubicBezTo>
                <a:cubicBezTo>
                  <a:pt x="223198" y="366056"/>
                  <a:pt x="262007" y="326157"/>
                  <a:pt x="310340" y="324291"/>
                </a:cubicBezTo>
                <a:cubicBezTo>
                  <a:pt x="331970" y="286614"/>
                  <a:pt x="371669" y="263421"/>
                  <a:pt x="415463" y="263421"/>
                </a:cubicBezTo>
                <a:close/>
                <a:moveTo>
                  <a:pt x="210679" y="206622"/>
                </a:moveTo>
                <a:cubicBezTo>
                  <a:pt x="215749" y="205557"/>
                  <a:pt x="220818" y="208930"/>
                  <a:pt x="221797" y="214077"/>
                </a:cubicBezTo>
                <a:cubicBezTo>
                  <a:pt x="222775" y="219224"/>
                  <a:pt x="219484" y="224194"/>
                  <a:pt x="214326" y="225171"/>
                </a:cubicBezTo>
                <a:cubicBezTo>
                  <a:pt x="207655" y="226502"/>
                  <a:pt x="200629" y="227656"/>
                  <a:pt x="193424" y="228543"/>
                </a:cubicBezTo>
                <a:cubicBezTo>
                  <a:pt x="192980" y="228632"/>
                  <a:pt x="192535" y="228632"/>
                  <a:pt x="192179" y="228632"/>
                </a:cubicBezTo>
                <a:cubicBezTo>
                  <a:pt x="187465" y="228632"/>
                  <a:pt x="183374" y="225171"/>
                  <a:pt x="182752" y="220378"/>
                </a:cubicBezTo>
                <a:cubicBezTo>
                  <a:pt x="182129" y="215142"/>
                  <a:pt x="185776" y="210438"/>
                  <a:pt x="190934" y="209728"/>
                </a:cubicBezTo>
                <a:cubicBezTo>
                  <a:pt x="197783" y="208841"/>
                  <a:pt x="204453" y="207864"/>
                  <a:pt x="210679" y="206622"/>
                </a:cubicBezTo>
                <a:close/>
                <a:moveTo>
                  <a:pt x="210679" y="145865"/>
                </a:moveTo>
                <a:cubicBezTo>
                  <a:pt x="215749" y="144800"/>
                  <a:pt x="220818" y="148173"/>
                  <a:pt x="221797" y="153320"/>
                </a:cubicBezTo>
                <a:cubicBezTo>
                  <a:pt x="222775" y="158468"/>
                  <a:pt x="219484" y="163437"/>
                  <a:pt x="214326" y="164414"/>
                </a:cubicBezTo>
                <a:cubicBezTo>
                  <a:pt x="207655" y="165745"/>
                  <a:pt x="200629" y="166899"/>
                  <a:pt x="193424" y="167786"/>
                </a:cubicBezTo>
                <a:cubicBezTo>
                  <a:pt x="192980" y="167875"/>
                  <a:pt x="192535" y="167875"/>
                  <a:pt x="192179" y="167875"/>
                </a:cubicBezTo>
                <a:cubicBezTo>
                  <a:pt x="187465" y="167875"/>
                  <a:pt x="183374" y="164414"/>
                  <a:pt x="182752" y="159621"/>
                </a:cubicBezTo>
                <a:cubicBezTo>
                  <a:pt x="182129" y="154385"/>
                  <a:pt x="185776" y="149681"/>
                  <a:pt x="190934" y="148971"/>
                </a:cubicBezTo>
                <a:cubicBezTo>
                  <a:pt x="197783" y="148084"/>
                  <a:pt x="204453" y="147019"/>
                  <a:pt x="210679" y="145865"/>
                </a:cubicBezTo>
                <a:close/>
                <a:moveTo>
                  <a:pt x="313942" y="131675"/>
                </a:moveTo>
                <a:cubicBezTo>
                  <a:pt x="369569" y="131675"/>
                  <a:pt x="414783" y="176920"/>
                  <a:pt x="414783" y="232387"/>
                </a:cubicBezTo>
                <a:cubicBezTo>
                  <a:pt x="414783" y="237631"/>
                  <a:pt x="410600" y="241898"/>
                  <a:pt x="405260" y="241898"/>
                </a:cubicBezTo>
                <a:cubicBezTo>
                  <a:pt x="400008" y="241898"/>
                  <a:pt x="395825" y="237631"/>
                  <a:pt x="395825" y="232387"/>
                </a:cubicBezTo>
                <a:cubicBezTo>
                  <a:pt x="395825" y="187320"/>
                  <a:pt x="359067" y="150697"/>
                  <a:pt x="313942" y="150697"/>
                </a:cubicBezTo>
                <a:cubicBezTo>
                  <a:pt x="308691" y="150697"/>
                  <a:pt x="304419" y="146431"/>
                  <a:pt x="304419" y="141186"/>
                </a:cubicBezTo>
                <a:cubicBezTo>
                  <a:pt x="304419" y="135942"/>
                  <a:pt x="308691" y="131675"/>
                  <a:pt x="313942" y="131675"/>
                </a:cubicBezTo>
                <a:close/>
                <a:moveTo>
                  <a:pt x="141413" y="19017"/>
                </a:moveTo>
                <a:cubicBezTo>
                  <a:pt x="107150" y="19017"/>
                  <a:pt x="74934" y="23105"/>
                  <a:pt x="50905" y="30480"/>
                </a:cubicBezTo>
                <a:cubicBezTo>
                  <a:pt x="25720" y="38211"/>
                  <a:pt x="19045" y="46653"/>
                  <a:pt x="19045" y="50030"/>
                </a:cubicBezTo>
                <a:cubicBezTo>
                  <a:pt x="19045" y="53407"/>
                  <a:pt x="25720" y="61849"/>
                  <a:pt x="50905" y="69580"/>
                </a:cubicBezTo>
                <a:cubicBezTo>
                  <a:pt x="74934" y="76956"/>
                  <a:pt x="107150" y="81043"/>
                  <a:pt x="141413" y="81043"/>
                </a:cubicBezTo>
                <a:cubicBezTo>
                  <a:pt x="175765" y="81043"/>
                  <a:pt x="207892" y="76956"/>
                  <a:pt x="231921" y="69580"/>
                </a:cubicBezTo>
                <a:cubicBezTo>
                  <a:pt x="257106" y="61849"/>
                  <a:pt x="263781" y="53407"/>
                  <a:pt x="263781" y="50030"/>
                </a:cubicBezTo>
                <a:cubicBezTo>
                  <a:pt x="263781" y="46653"/>
                  <a:pt x="257106" y="38211"/>
                  <a:pt x="231921" y="30480"/>
                </a:cubicBezTo>
                <a:cubicBezTo>
                  <a:pt x="207892" y="23105"/>
                  <a:pt x="175765" y="19017"/>
                  <a:pt x="141413" y="19017"/>
                </a:cubicBezTo>
                <a:close/>
                <a:moveTo>
                  <a:pt x="141413" y="0"/>
                </a:moveTo>
                <a:cubicBezTo>
                  <a:pt x="177545" y="0"/>
                  <a:pt x="211719" y="4354"/>
                  <a:pt x="237528" y="12263"/>
                </a:cubicBezTo>
                <a:cubicBezTo>
                  <a:pt x="258174" y="18661"/>
                  <a:pt x="282826" y="30391"/>
                  <a:pt x="282826" y="50030"/>
                </a:cubicBezTo>
                <a:lnTo>
                  <a:pt x="282826" y="293160"/>
                </a:lnTo>
                <a:cubicBezTo>
                  <a:pt x="282826" y="298403"/>
                  <a:pt x="278554" y="302669"/>
                  <a:pt x="273304" y="302669"/>
                </a:cubicBezTo>
                <a:cubicBezTo>
                  <a:pt x="268053" y="302669"/>
                  <a:pt x="263781" y="298403"/>
                  <a:pt x="263781" y="293160"/>
                </a:cubicBezTo>
                <a:lnTo>
                  <a:pt x="263781" y="269078"/>
                </a:lnTo>
                <a:cubicBezTo>
                  <a:pt x="261823" y="270323"/>
                  <a:pt x="259598" y="271478"/>
                  <a:pt x="257195" y="272722"/>
                </a:cubicBezTo>
                <a:cubicBezTo>
                  <a:pt x="255861" y="273344"/>
                  <a:pt x="254437" y="273610"/>
                  <a:pt x="253013" y="273610"/>
                </a:cubicBezTo>
                <a:cubicBezTo>
                  <a:pt x="249542" y="273610"/>
                  <a:pt x="246160" y="271655"/>
                  <a:pt x="244469" y="268279"/>
                </a:cubicBezTo>
                <a:cubicBezTo>
                  <a:pt x="242155" y="263569"/>
                  <a:pt x="244113" y="257882"/>
                  <a:pt x="248830" y="255571"/>
                </a:cubicBezTo>
                <a:cubicBezTo>
                  <a:pt x="259865" y="250239"/>
                  <a:pt x="263781" y="245174"/>
                  <a:pt x="263781" y="242508"/>
                </a:cubicBezTo>
                <a:lnTo>
                  <a:pt x="263781" y="208296"/>
                </a:lnTo>
                <a:cubicBezTo>
                  <a:pt x="261823" y="209540"/>
                  <a:pt x="259598" y="210695"/>
                  <a:pt x="257195" y="211850"/>
                </a:cubicBezTo>
                <a:cubicBezTo>
                  <a:pt x="255861" y="212561"/>
                  <a:pt x="254437" y="212828"/>
                  <a:pt x="253013" y="212828"/>
                </a:cubicBezTo>
                <a:cubicBezTo>
                  <a:pt x="249542" y="212828"/>
                  <a:pt x="246160" y="210873"/>
                  <a:pt x="244469" y="207496"/>
                </a:cubicBezTo>
                <a:cubicBezTo>
                  <a:pt x="242155" y="202786"/>
                  <a:pt x="244113" y="197099"/>
                  <a:pt x="248830" y="194789"/>
                </a:cubicBezTo>
                <a:cubicBezTo>
                  <a:pt x="259865" y="189457"/>
                  <a:pt x="263781" y="184392"/>
                  <a:pt x="263781" y="181726"/>
                </a:cubicBezTo>
                <a:lnTo>
                  <a:pt x="263781" y="147513"/>
                </a:lnTo>
                <a:cubicBezTo>
                  <a:pt x="261823" y="148757"/>
                  <a:pt x="259598" y="149913"/>
                  <a:pt x="257195" y="151068"/>
                </a:cubicBezTo>
                <a:cubicBezTo>
                  <a:pt x="255861" y="151779"/>
                  <a:pt x="254437" y="152045"/>
                  <a:pt x="253013" y="152045"/>
                </a:cubicBezTo>
                <a:cubicBezTo>
                  <a:pt x="249542" y="152045"/>
                  <a:pt x="246160" y="150090"/>
                  <a:pt x="244469" y="146714"/>
                </a:cubicBezTo>
                <a:cubicBezTo>
                  <a:pt x="242155" y="142004"/>
                  <a:pt x="244113" y="136317"/>
                  <a:pt x="248830" y="134006"/>
                </a:cubicBezTo>
                <a:cubicBezTo>
                  <a:pt x="259865" y="128674"/>
                  <a:pt x="263781" y="123609"/>
                  <a:pt x="263781" y="120943"/>
                </a:cubicBezTo>
                <a:lnTo>
                  <a:pt x="263781" y="76600"/>
                </a:lnTo>
                <a:cubicBezTo>
                  <a:pt x="255772" y="81399"/>
                  <a:pt x="246249" y="85042"/>
                  <a:pt x="237528" y="87797"/>
                </a:cubicBezTo>
                <a:cubicBezTo>
                  <a:pt x="211719" y="95706"/>
                  <a:pt x="177545" y="100060"/>
                  <a:pt x="141413" y="100060"/>
                </a:cubicBezTo>
                <a:cubicBezTo>
                  <a:pt x="105281" y="100060"/>
                  <a:pt x="71107" y="95706"/>
                  <a:pt x="45387" y="87797"/>
                </a:cubicBezTo>
                <a:cubicBezTo>
                  <a:pt x="36577" y="85042"/>
                  <a:pt x="27054" y="81399"/>
                  <a:pt x="19045" y="76600"/>
                </a:cubicBezTo>
                <a:lnTo>
                  <a:pt x="19045" y="120943"/>
                </a:lnTo>
                <a:cubicBezTo>
                  <a:pt x="19045" y="124320"/>
                  <a:pt x="25720" y="132762"/>
                  <a:pt x="50905" y="140493"/>
                </a:cubicBezTo>
                <a:cubicBezTo>
                  <a:pt x="74934" y="147958"/>
                  <a:pt x="107061" y="151956"/>
                  <a:pt x="141413" y="151956"/>
                </a:cubicBezTo>
                <a:cubicBezTo>
                  <a:pt x="144706" y="151956"/>
                  <a:pt x="148088" y="151956"/>
                  <a:pt x="151380" y="151868"/>
                </a:cubicBezTo>
                <a:cubicBezTo>
                  <a:pt x="156631" y="151690"/>
                  <a:pt x="160992" y="155866"/>
                  <a:pt x="161081" y="161109"/>
                </a:cubicBezTo>
                <a:cubicBezTo>
                  <a:pt x="161170" y="166352"/>
                  <a:pt x="157076" y="170707"/>
                  <a:pt x="151825" y="170884"/>
                </a:cubicBezTo>
                <a:cubicBezTo>
                  <a:pt x="148355" y="170973"/>
                  <a:pt x="144884" y="170973"/>
                  <a:pt x="141413" y="170973"/>
                </a:cubicBezTo>
                <a:cubicBezTo>
                  <a:pt x="105281" y="170973"/>
                  <a:pt x="71107" y="166619"/>
                  <a:pt x="45387" y="158710"/>
                </a:cubicBezTo>
                <a:cubicBezTo>
                  <a:pt x="36577" y="155955"/>
                  <a:pt x="27054" y="152312"/>
                  <a:pt x="19045" y="147513"/>
                </a:cubicBezTo>
                <a:lnTo>
                  <a:pt x="19045" y="181726"/>
                </a:lnTo>
                <a:cubicBezTo>
                  <a:pt x="19045" y="185103"/>
                  <a:pt x="25720" y="193545"/>
                  <a:pt x="50905" y="201365"/>
                </a:cubicBezTo>
                <a:cubicBezTo>
                  <a:pt x="74934" y="208740"/>
                  <a:pt x="107061" y="212739"/>
                  <a:pt x="141413" y="212739"/>
                </a:cubicBezTo>
                <a:cubicBezTo>
                  <a:pt x="144706" y="212739"/>
                  <a:pt x="148088" y="212739"/>
                  <a:pt x="151380" y="212650"/>
                </a:cubicBezTo>
                <a:cubicBezTo>
                  <a:pt x="156631" y="212561"/>
                  <a:pt x="160992" y="216649"/>
                  <a:pt x="161081" y="221892"/>
                </a:cubicBezTo>
                <a:cubicBezTo>
                  <a:pt x="161170" y="227135"/>
                  <a:pt x="157076" y="231489"/>
                  <a:pt x="151825" y="231667"/>
                </a:cubicBezTo>
                <a:cubicBezTo>
                  <a:pt x="148355" y="231756"/>
                  <a:pt x="144884" y="231756"/>
                  <a:pt x="141413" y="231756"/>
                </a:cubicBezTo>
                <a:cubicBezTo>
                  <a:pt x="105281" y="231756"/>
                  <a:pt x="71107" y="227401"/>
                  <a:pt x="45387" y="219493"/>
                </a:cubicBezTo>
                <a:cubicBezTo>
                  <a:pt x="36577" y="216738"/>
                  <a:pt x="27054" y="213094"/>
                  <a:pt x="19045" y="208296"/>
                </a:cubicBezTo>
                <a:lnTo>
                  <a:pt x="19045" y="242508"/>
                </a:lnTo>
                <a:cubicBezTo>
                  <a:pt x="19045" y="245885"/>
                  <a:pt x="25720" y="254327"/>
                  <a:pt x="50905" y="262147"/>
                </a:cubicBezTo>
                <a:cubicBezTo>
                  <a:pt x="74934" y="269523"/>
                  <a:pt x="107150" y="273610"/>
                  <a:pt x="141413" y="273610"/>
                </a:cubicBezTo>
                <a:cubicBezTo>
                  <a:pt x="144706" y="273610"/>
                  <a:pt x="148088" y="273522"/>
                  <a:pt x="151380" y="273433"/>
                </a:cubicBezTo>
                <a:cubicBezTo>
                  <a:pt x="156631" y="273344"/>
                  <a:pt x="160992" y="277520"/>
                  <a:pt x="161081" y="282763"/>
                </a:cubicBezTo>
                <a:cubicBezTo>
                  <a:pt x="161170" y="288006"/>
                  <a:pt x="157076" y="292361"/>
                  <a:pt x="151825" y="292450"/>
                </a:cubicBezTo>
                <a:cubicBezTo>
                  <a:pt x="148355" y="292538"/>
                  <a:pt x="144884" y="292538"/>
                  <a:pt x="141413" y="292538"/>
                </a:cubicBezTo>
                <a:cubicBezTo>
                  <a:pt x="105281" y="292538"/>
                  <a:pt x="71107" y="288184"/>
                  <a:pt x="45387" y="280275"/>
                </a:cubicBezTo>
                <a:cubicBezTo>
                  <a:pt x="36577" y="277609"/>
                  <a:pt x="27054" y="273877"/>
                  <a:pt x="19045" y="269078"/>
                </a:cubicBezTo>
                <a:lnTo>
                  <a:pt x="19045" y="303291"/>
                </a:lnTo>
                <a:cubicBezTo>
                  <a:pt x="19045" y="306668"/>
                  <a:pt x="25720" y="315110"/>
                  <a:pt x="50905" y="322930"/>
                </a:cubicBezTo>
                <a:cubicBezTo>
                  <a:pt x="74934" y="330305"/>
                  <a:pt x="107150" y="334393"/>
                  <a:pt x="141413" y="334393"/>
                </a:cubicBezTo>
                <a:cubicBezTo>
                  <a:pt x="166065" y="334393"/>
                  <a:pt x="190004" y="332171"/>
                  <a:pt x="210651" y="328173"/>
                </a:cubicBezTo>
                <a:cubicBezTo>
                  <a:pt x="215813" y="327195"/>
                  <a:pt x="220797" y="330483"/>
                  <a:pt x="221775" y="335637"/>
                </a:cubicBezTo>
                <a:cubicBezTo>
                  <a:pt x="222843" y="340791"/>
                  <a:pt x="219462" y="345768"/>
                  <a:pt x="214300" y="346834"/>
                </a:cubicBezTo>
                <a:cubicBezTo>
                  <a:pt x="192496" y="351099"/>
                  <a:pt x="167311" y="353321"/>
                  <a:pt x="141413" y="353321"/>
                </a:cubicBezTo>
                <a:cubicBezTo>
                  <a:pt x="105281" y="353321"/>
                  <a:pt x="71107" y="348967"/>
                  <a:pt x="45387" y="341058"/>
                </a:cubicBezTo>
                <a:cubicBezTo>
                  <a:pt x="7832" y="329506"/>
                  <a:pt x="0" y="314221"/>
                  <a:pt x="0" y="303291"/>
                </a:cubicBezTo>
                <a:lnTo>
                  <a:pt x="0" y="50030"/>
                </a:lnTo>
                <a:cubicBezTo>
                  <a:pt x="0" y="30391"/>
                  <a:pt x="24652" y="18661"/>
                  <a:pt x="45387" y="12263"/>
                </a:cubicBezTo>
                <a:cubicBezTo>
                  <a:pt x="71107" y="4354"/>
                  <a:pt x="105281" y="0"/>
                  <a:pt x="14141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9" name="computers_22919">
            <a:extLst>
              <a:ext uri="{FF2B5EF4-FFF2-40B4-BE49-F238E27FC236}">
                <a16:creationId xmlns:a16="http://schemas.microsoft.com/office/drawing/2014/main" id="{97A292C5-A758-DA4D-9F1B-38150BE6963A}"/>
              </a:ext>
            </a:extLst>
          </p:cNvPr>
          <p:cNvSpPr>
            <a:spLocks noChangeAspect="1"/>
          </p:cNvSpPr>
          <p:nvPr/>
        </p:nvSpPr>
        <p:spPr bwMode="auto">
          <a:xfrm>
            <a:off x="2966232" y="1781309"/>
            <a:ext cx="572742" cy="518467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  <a:gd name="connsiteX130" fmla="*/ 373273 h 605239"/>
              <a:gd name="connsiteY130" fmla="*/ 373273 h 605239"/>
              <a:gd name="connsiteX131" fmla="*/ 373273 h 605239"/>
              <a:gd name="connsiteY131" fmla="*/ 373273 h 605239"/>
              <a:gd name="connsiteX132" fmla="*/ 373273 h 605239"/>
              <a:gd name="connsiteY132" fmla="*/ 373273 h 605239"/>
              <a:gd name="connsiteX133" fmla="*/ 373273 h 605239"/>
              <a:gd name="connsiteY133" fmla="*/ 373273 h 605239"/>
              <a:gd name="connsiteX134" fmla="*/ 373273 h 605239"/>
              <a:gd name="connsiteY134" fmla="*/ 373273 h 605239"/>
              <a:gd name="connsiteX135" fmla="*/ 373273 h 605239"/>
              <a:gd name="connsiteY135" fmla="*/ 373273 h 605239"/>
              <a:gd name="connsiteX136" fmla="*/ 373273 h 605239"/>
              <a:gd name="connsiteY136" fmla="*/ 373273 h 605239"/>
              <a:gd name="connsiteX137" fmla="*/ 373273 h 605239"/>
              <a:gd name="connsiteY137" fmla="*/ 373273 h 605239"/>
              <a:gd name="connsiteX138" fmla="*/ 373273 h 605239"/>
              <a:gd name="connsiteY138" fmla="*/ 373273 h 605239"/>
              <a:gd name="connsiteX139" fmla="*/ 373273 h 605239"/>
              <a:gd name="connsiteY139" fmla="*/ 373273 h 605239"/>
              <a:gd name="connsiteX140" fmla="*/ 373273 h 605239"/>
              <a:gd name="connsiteY140" fmla="*/ 373273 h 605239"/>
              <a:gd name="connsiteX141" fmla="*/ 373273 h 605239"/>
              <a:gd name="connsiteY141" fmla="*/ 373273 h 605239"/>
              <a:gd name="connsiteX142" fmla="*/ 373273 h 605239"/>
              <a:gd name="connsiteY142" fmla="*/ 373273 h 605239"/>
              <a:gd name="connsiteX143" fmla="*/ 373273 h 605239"/>
              <a:gd name="connsiteY143" fmla="*/ 373273 h 605239"/>
              <a:gd name="connsiteX144" fmla="*/ 373273 h 605239"/>
              <a:gd name="connsiteY144" fmla="*/ 373273 h 605239"/>
              <a:gd name="connsiteX145" fmla="*/ 373273 h 605239"/>
              <a:gd name="connsiteY145" fmla="*/ 373273 h 605239"/>
              <a:gd name="connsiteX146" fmla="*/ 373273 h 605239"/>
              <a:gd name="connsiteY146" fmla="*/ 373273 h 605239"/>
              <a:gd name="connsiteX147" fmla="*/ 373273 h 605239"/>
              <a:gd name="connsiteY147" fmla="*/ 373273 h 605239"/>
              <a:gd name="connsiteX148" fmla="*/ 373273 h 605239"/>
              <a:gd name="connsiteY148" fmla="*/ 373273 h 605239"/>
              <a:gd name="connsiteX149" fmla="*/ 373273 h 605239"/>
              <a:gd name="connsiteY149" fmla="*/ 373273 h 605239"/>
              <a:gd name="connsiteX150" fmla="*/ 373273 h 605239"/>
              <a:gd name="connsiteY150" fmla="*/ 373273 h 605239"/>
              <a:gd name="connsiteX151" fmla="*/ 373273 h 605239"/>
              <a:gd name="connsiteY151" fmla="*/ 373273 h 605239"/>
              <a:gd name="connsiteX152" fmla="*/ 373273 h 605239"/>
              <a:gd name="connsiteY152" fmla="*/ 373273 h 605239"/>
              <a:gd name="connsiteX153" fmla="*/ 373273 h 605239"/>
              <a:gd name="connsiteY153" fmla="*/ 373273 h 605239"/>
              <a:gd name="connsiteX154" fmla="*/ 373273 h 605239"/>
              <a:gd name="connsiteY154" fmla="*/ 373273 h 605239"/>
              <a:gd name="connsiteX155" fmla="*/ 373273 h 605239"/>
              <a:gd name="connsiteY155" fmla="*/ 373273 h 605239"/>
              <a:gd name="connsiteX156" fmla="*/ 373273 h 605239"/>
              <a:gd name="connsiteY156" fmla="*/ 373273 h 605239"/>
              <a:gd name="connsiteX157" fmla="*/ 373273 h 605239"/>
              <a:gd name="connsiteY157" fmla="*/ 373273 h 605239"/>
              <a:gd name="connsiteX158" fmla="*/ 373273 h 605239"/>
              <a:gd name="connsiteY158" fmla="*/ 373273 h 605239"/>
              <a:gd name="connsiteX159" fmla="*/ 373273 h 605239"/>
              <a:gd name="connsiteY159" fmla="*/ 373273 h 605239"/>
              <a:gd name="connsiteX160" fmla="*/ 373273 h 605239"/>
              <a:gd name="connsiteY160" fmla="*/ 373273 h 605239"/>
              <a:gd name="connsiteX161" fmla="*/ 373273 h 605239"/>
              <a:gd name="connsiteY161" fmla="*/ 373273 h 605239"/>
              <a:gd name="connsiteX162" fmla="*/ 373273 h 605239"/>
              <a:gd name="connsiteY162" fmla="*/ 373273 h 605239"/>
              <a:gd name="connsiteX163" fmla="*/ 373273 h 605239"/>
              <a:gd name="connsiteY163" fmla="*/ 373273 h 605239"/>
              <a:gd name="connsiteX164" fmla="*/ 373273 h 605239"/>
              <a:gd name="connsiteY164" fmla="*/ 373273 h 605239"/>
              <a:gd name="connsiteX165" fmla="*/ 373273 h 605239"/>
              <a:gd name="connsiteY165" fmla="*/ 373273 h 605239"/>
              <a:gd name="connsiteX166" fmla="*/ 373273 h 605239"/>
              <a:gd name="connsiteY166" fmla="*/ 373273 h 605239"/>
              <a:gd name="connsiteX167" fmla="*/ 373273 h 605239"/>
              <a:gd name="connsiteY167" fmla="*/ 373273 h 605239"/>
              <a:gd name="connsiteX168" fmla="*/ 373273 h 605239"/>
              <a:gd name="connsiteY168" fmla="*/ 373273 h 605239"/>
              <a:gd name="connsiteX169" fmla="*/ 373273 h 605239"/>
              <a:gd name="connsiteY169" fmla="*/ 373273 h 605239"/>
              <a:gd name="connsiteX170" fmla="*/ 373273 h 605239"/>
              <a:gd name="connsiteY170" fmla="*/ 373273 h 605239"/>
              <a:gd name="connsiteX171" fmla="*/ 373273 h 605239"/>
              <a:gd name="connsiteY171" fmla="*/ 373273 h 605239"/>
              <a:gd name="connsiteX172" fmla="*/ 373273 h 605239"/>
              <a:gd name="connsiteY172" fmla="*/ 373273 h 605239"/>
              <a:gd name="connsiteX173" fmla="*/ 373273 h 605239"/>
              <a:gd name="connsiteY173" fmla="*/ 373273 h 605239"/>
              <a:gd name="connsiteX174" fmla="*/ 373273 h 605239"/>
              <a:gd name="connsiteY174" fmla="*/ 373273 h 605239"/>
              <a:gd name="connsiteX175" fmla="*/ 373273 h 605239"/>
              <a:gd name="connsiteY175" fmla="*/ 373273 h 605239"/>
              <a:gd name="connsiteX176" fmla="*/ 373273 h 605239"/>
              <a:gd name="connsiteY176" fmla="*/ 373273 h 605239"/>
              <a:gd name="connsiteX177" fmla="*/ 373273 h 605239"/>
              <a:gd name="connsiteY177" fmla="*/ 373273 h 605239"/>
              <a:gd name="connsiteX178" fmla="*/ 373273 h 605239"/>
              <a:gd name="connsiteY178" fmla="*/ 373273 h 605239"/>
              <a:gd name="connsiteX179" fmla="*/ 373273 h 605239"/>
              <a:gd name="connsiteY179" fmla="*/ 373273 h 605239"/>
              <a:gd name="connsiteX180" fmla="*/ 373273 h 605239"/>
              <a:gd name="connsiteY180" fmla="*/ 373273 h 605239"/>
              <a:gd name="connsiteX181" fmla="*/ 373273 h 605239"/>
              <a:gd name="connsiteY181" fmla="*/ 373273 h 605239"/>
              <a:gd name="connsiteX182" fmla="*/ 373273 h 605239"/>
              <a:gd name="connsiteY182" fmla="*/ 373273 h 605239"/>
              <a:gd name="connsiteX183" fmla="*/ 373273 h 605239"/>
              <a:gd name="connsiteY183" fmla="*/ 373273 h 605239"/>
              <a:gd name="connsiteX184" fmla="*/ 373273 h 605239"/>
              <a:gd name="connsiteY184" fmla="*/ 373273 h 605239"/>
              <a:gd name="connsiteX185" fmla="*/ 373273 h 605239"/>
              <a:gd name="connsiteY185" fmla="*/ 373273 h 605239"/>
              <a:gd name="connsiteX186" fmla="*/ 373273 h 605239"/>
              <a:gd name="connsiteY186" fmla="*/ 373273 h 605239"/>
              <a:gd name="connsiteX187" fmla="*/ 373273 h 605239"/>
              <a:gd name="connsiteY187" fmla="*/ 373273 h 605239"/>
              <a:gd name="connsiteX188" fmla="*/ 373273 h 605239"/>
              <a:gd name="connsiteY188" fmla="*/ 373273 h 605239"/>
              <a:gd name="connsiteX189" fmla="*/ 373273 h 605239"/>
              <a:gd name="connsiteY189" fmla="*/ 373273 h 605239"/>
              <a:gd name="connsiteX190" fmla="*/ 373273 h 605239"/>
              <a:gd name="connsiteY190" fmla="*/ 373273 h 605239"/>
              <a:gd name="connsiteX191" fmla="*/ 373273 h 605239"/>
              <a:gd name="connsiteY191" fmla="*/ 373273 h 605239"/>
              <a:gd name="connsiteX192" fmla="*/ 373273 h 605239"/>
              <a:gd name="connsiteY192" fmla="*/ 373273 h 605239"/>
              <a:gd name="connsiteX193" fmla="*/ 373273 h 605239"/>
              <a:gd name="connsiteY193" fmla="*/ 373273 h 605239"/>
              <a:gd name="connsiteX194" fmla="*/ 373273 h 605239"/>
              <a:gd name="connsiteY194" fmla="*/ 373273 h 605239"/>
              <a:gd name="connsiteX195" fmla="*/ 373273 h 605239"/>
              <a:gd name="connsiteY195" fmla="*/ 373273 h 605239"/>
              <a:gd name="connsiteX196" fmla="*/ 373273 h 605239"/>
              <a:gd name="connsiteY196" fmla="*/ 373273 h 605239"/>
              <a:gd name="connsiteX197" fmla="*/ 373273 h 605239"/>
              <a:gd name="connsiteY197" fmla="*/ 373273 h 605239"/>
              <a:gd name="connsiteX198" fmla="*/ 373273 h 605239"/>
              <a:gd name="connsiteY198" fmla="*/ 373273 h 605239"/>
              <a:gd name="connsiteX199" fmla="*/ 373273 h 605239"/>
              <a:gd name="connsiteY199" fmla="*/ 373273 h 605239"/>
              <a:gd name="connsiteX200" fmla="*/ 373273 h 605239"/>
              <a:gd name="connsiteY200" fmla="*/ 373273 h 605239"/>
              <a:gd name="connsiteX201" fmla="*/ 373273 h 605239"/>
              <a:gd name="connsiteY201" fmla="*/ 373273 h 605239"/>
              <a:gd name="connsiteX202" fmla="*/ 373273 h 605239"/>
              <a:gd name="connsiteY202" fmla="*/ 373273 h 605239"/>
              <a:gd name="connsiteX203" fmla="*/ 373273 h 605239"/>
              <a:gd name="connsiteY203" fmla="*/ 373273 h 605239"/>
              <a:gd name="connsiteX204" fmla="*/ 373273 h 605239"/>
              <a:gd name="connsiteY204" fmla="*/ 373273 h 605239"/>
              <a:gd name="connsiteX205" fmla="*/ 373273 h 605239"/>
              <a:gd name="connsiteY205" fmla="*/ 373273 h 605239"/>
              <a:gd name="connsiteX206" fmla="*/ 373273 h 605239"/>
              <a:gd name="connsiteY206" fmla="*/ 373273 h 605239"/>
              <a:gd name="connsiteX207" fmla="*/ 373273 h 605239"/>
              <a:gd name="connsiteY207" fmla="*/ 373273 h 605239"/>
              <a:gd name="connsiteX208" fmla="*/ 373273 h 605239"/>
              <a:gd name="connsiteY208" fmla="*/ 373273 h 605239"/>
              <a:gd name="connsiteX209" fmla="*/ 373273 h 605239"/>
              <a:gd name="connsiteY209" fmla="*/ 373273 h 605239"/>
              <a:gd name="connsiteX210" fmla="*/ 373273 h 605239"/>
              <a:gd name="connsiteY210" fmla="*/ 373273 h 605239"/>
              <a:gd name="connsiteX211" fmla="*/ 373273 h 605239"/>
              <a:gd name="connsiteY211" fmla="*/ 373273 h 605239"/>
              <a:gd name="connsiteX212" fmla="*/ 373273 h 605239"/>
              <a:gd name="connsiteY212" fmla="*/ 373273 h 605239"/>
              <a:gd name="connsiteX213" fmla="*/ 373273 h 605239"/>
              <a:gd name="connsiteY213" fmla="*/ 373273 h 605239"/>
              <a:gd name="connsiteX214" fmla="*/ 373273 h 605239"/>
              <a:gd name="connsiteY214" fmla="*/ 373273 h 605239"/>
              <a:gd name="connsiteX215" fmla="*/ 373273 h 605239"/>
              <a:gd name="connsiteY215" fmla="*/ 373273 h 605239"/>
              <a:gd name="connsiteX216" fmla="*/ 373273 h 605239"/>
              <a:gd name="connsiteY216" fmla="*/ 373273 h 605239"/>
              <a:gd name="connsiteX217" fmla="*/ 373273 h 605239"/>
              <a:gd name="connsiteY217" fmla="*/ 373273 h 605239"/>
              <a:gd name="connsiteX218" fmla="*/ 373273 h 605239"/>
              <a:gd name="connsiteY218" fmla="*/ 373273 h 605239"/>
              <a:gd name="connsiteX219" fmla="*/ 373273 h 605239"/>
              <a:gd name="connsiteY219" fmla="*/ 373273 h 605239"/>
              <a:gd name="connsiteX220" fmla="*/ 373273 h 605239"/>
              <a:gd name="connsiteY220" fmla="*/ 373273 h 605239"/>
              <a:gd name="connsiteX221" fmla="*/ 373273 h 605239"/>
              <a:gd name="connsiteY221" fmla="*/ 373273 h 605239"/>
              <a:gd name="connsiteX222" fmla="*/ 373273 h 605239"/>
              <a:gd name="connsiteY222" fmla="*/ 373273 h 605239"/>
              <a:gd name="connsiteX223" fmla="*/ 373273 h 605239"/>
              <a:gd name="connsiteY223" fmla="*/ 373273 h 605239"/>
              <a:gd name="connsiteX224" fmla="*/ 373273 h 605239"/>
              <a:gd name="connsiteY224" fmla="*/ 373273 h 605239"/>
              <a:gd name="connsiteX225" fmla="*/ 373273 h 605239"/>
              <a:gd name="connsiteY225" fmla="*/ 373273 h 605239"/>
              <a:gd name="connsiteX226" fmla="*/ 373273 h 605239"/>
              <a:gd name="connsiteY226" fmla="*/ 373273 h 605239"/>
              <a:gd name="connsiteX227" fmla="*/ 373273 h 605239"/>
              <a:gd name="connsiteY227" fmla="*/ 373273 h 605239"/>
              <a:gd name="connsiteX228" fmla="*/ 373273 h 605239"/>
              <a:gd name="connsiteY228" fmla="*/ 373273 h 605239"/>
              <a:gd name="connsiteX229" fmla="*/ 373273 h 605239"/>
              <a:gd name="connsiteY229" fmla="*/ 373273 h 605239"/>
              <a:gd name="connsiteX230" fmla="*/ 373273 h 605239"/>
              <a:gd name="connsiteY230" fmla="*/ 373273 h 605239"/>
              <a:gd name="connsiteX231" fmla="*/ 373273 h 605239"/>
              <a:gd name="connsiteY231" fmla="*/ 373273 h 605239"/>
              <a:gd name="connsiteX232" fmla="*/ 373273 h 605239"/>
              <a:gd name="connsiteY232" fmla="*/ 373273 h 605239"/>
              <a:gd name="connsiteX233" fmla="*/ 373273 h 605239"/>
              <a:gd name="connsiteY233" fmla="*/ 373273 h 605239"/>
              <a:gd name="connsiteX234" fmla="*/ 373273 h 605239"/>
              <a:gd name="connsiteY234" fmla="*/ 373273 h 605239"/>
              <a:gd name="connsiteX235" fmla="*/ 373273 h 605239"/>
              <a:gd name="connsiteY235" fmla="*/ 373273 h 605239"/>
              <a:gd name="connsiteX236" fmla="*/ 373273 h 605239"/>
              <a:gd name="connsiteY236" fmla="*/ 373273 h 605239"/>
              <a:gd name="connsiteX237" fmla="*/ 373273 h 605239"/>
              <a:gd name="connsiteY237" fmla="*/ 373273 h 605239"/>
              <a:gd name="connsiteX238" fmla="*/ 373273 h 605239"/>
              <a:gd name="connsiteY238" fmla="*/ 373273 h 605239"/>
              <a:gd name="connsiteX239" fmla="*/ 373273 h 605239"/>
              <a:gd name="connsiteY239" fmla="*/ 373273 h 605239"/>
              <a:gd name="connsiteX240" fmla="*/ 373273 h 605239"/>
              <a:gd name="connsiteY240" fmla="*/ 373273 h 605239"/>
              <a:gd name="connsiteX241" fmla="*/ 373273 h 605239"/>
              <a:gd name="connsiteY241" fmla="*/ 373273 h 605239"/>
              <a:gd name="connsiteX242" fmla="*/ 373273 h 605239"/>
              <a:gd name="connsiteY242" fmla="*/ 373273 h 605239"/>
              <a:gd name="connsiteX243" fmla="*/ 373273 h 605239"/>
              <a:gd name="connsiteY243" fmla="*/ 373273 h 605239"/>
              <a:gd name="connsiteX244" fmla="*/ 373273 h 605239"/>
              <a:gd name="connsiteY244" fmla="*/ 373273 h 605239"/>
              <a:gd name="connsiteX245" fmla="*/ 373273 h 605239"/>
              <a:gd name="connsiteY245" fmla="*/ 373273 h 605239"/>
              <a:gd name="connsiteX246" fmla="*/ 373273 h 605239"/>
              <a:gd name="connsiteY246" fmla="*/ 373273 h 605239"/>
              <a:gd name="connsiteX247" fmla="*/ 373273 h 605239"/>
              <a:gd name="connsiteY247" fmla="*/ 373273 h 605239"/>
              <a:gd name="connsiteX248" fmla="*/ 373273 h 605239"/>
              <a:gd name="connsiteY248" fmla="*/ 373273 h 605239"/>
              <a:gd name="connsiteX249" fmla="*/ 373273 h 605239"/>
              <a:gd name="connsiteY249" fmla="*/ 373273 h 605239"/>
              <a:gd name="connsiteX250" fmla="*/ 373273 h 605239"/>
              <a:gd name="connsiteY250" fmla="*/ 373273 h 605239"/>
              <a:gd name="connsiteX251" fmla="*/ 373273 h 605239"/>
              <a:gd name="connsiteY251" fmla="*/ 373273 h 605239"/>
              <a:gd name="connsiteX252" fmla="*/ 373273 h 605239"/>
              <a:gd name="connsiteY252" fmla="*/ 373273 h 605239"/>
              <a:gd name="connsiteX253" fmla="*/ 373273 h 605239"/>
              <a:gd name="connsiteY253" fmla="*/ 373273 h 605239"/>
              <a:gd name="connsiteX254" fmla="*/ 373273 h 605239"/>
              <a:gd name="connsiteY254" fmla="*/ 373273 h 605239"/>
              <a:gd name="connsiteX255" fmla="*/ 373273 h 605239"/>
              <a:gd name="connsiteY255" fmla="*/ 373273 h 605239"/>
              <a:gd name="connsiteX256" fmla="*/ 373273 h 605239"/>
              <a:gd name="connsiteY256" fmla="*/ 373273 h 605239"/>
              <a:gd name="connsiteX257" fmla="*/ 373273 h 605239"/>
              <a:gd name="connsiteY257" fmla="*/ 373273 h 605239"/>
              <a:gd name="connsiteX258" fmla="*/ 373273 h 605239"/>
              <a:gd name="connsiteY258" fmla="*/ 373273 h 605239"/>
              <a:gd name="connsiteX259" fmla="*/ 373273 h 605239"/>
              <a:gd name="connsiteY259" fmla="*/ 373273 h 605239"/>
              <a:gd name="connsiteX260" fmla="*/ 373273 h 605239"/>
              <a:gd name="connsiteY260" fmla="*/ 373273 h 605239"/>
              <a:gd name="connsiteX261" fmla="*/ 373273 h 605239"/>
              <a:gd name="connsiteY261" fmla="*/ 373273 h 605239"/>
              <a:gd name="connsiteX262" fmla="*/ 373273 h 605239"/>
              <a:gd name="connsiteY262" fmla="*/ 373273 h 605239"/>
              <a:gd name="connsiteX263" fmla="*/ 373273 h 605239"/>
              <a:gd name="connsiteY263" fmla="*/ 373273 h 605239"/>
              <a:gd name="connsiteX264" fmla="*/ 373273 h 605239"/>
              <a:gd name="connsiteY264" fmla="*/ 373273 h 605239"/>
              <a:gd name="connsiteX265" fmla="*/ 373273 h 605239"/>
              <a:gd name="connsiteY265" fmla="*/ 373273 h 605239"/>
              <a:gd name="connsiteX266" fmla="*/ 373273 h 605239"/>
              <a:gd name="connsiteY266" fmla="*/ 373273 h 605239"/>
              <a:gd name="connsiteX267" fmla="*/ 373273 h 605239"/>
              <a:gd name="connsiteY267" fmla="*/ 373273 h 605239"/>
              <a:gd name="connsiteX268" fmla="*/ 373273 h 605239"/>
              <a:gd name="connsiteY268" fmla="*/ 373273 h 605239"/>
              <a:gd name="connsiteX269" fmla="*/ 373273 h 605239"/>
              <a:gd name="connsiteY269" fmla="*/ 373273 h 605239"/>
              <a:gd name="connsiteX270" fmla="*/ 373273 h 605239"/>
              <a:gd name="connsiteY270" fmla="*/ 373273 h 605239"/>
              <a:gd name="connsiteX271" fmla="*/ 373273 h 605239"/>
              <a:gd name="connsiteY271" fmla="*/ 373273 h 605239"/>
              <a:gd name="connsiteX272" fmla="*/ 373273 h 605239"/>
              <a:gd name="connsiteY272" fmla="*/ 373273 h 605239"/>
              <a:gd name="connsiteX273" fmla="*/ 373273 h 605239"/>
              <a:gd name="connsiteY273" fmla="*/ 373273 h 605239"/>
              <a:gd name="connsiteX274" fmla="*/ 373273 h 605239"/>
              <a:gd name="connsiteY274" fmla="*/ 373273 h 605239"/>
              <a:gd name="connsiteX275" fmla="*/ 373273 h 605239"/>
              <a:gd name="connsiteY275" fmla="*/ 373273 h 605239"/>
              <a:gd name="connsiteX276" fmla="*/ 373273 h 605239"/>
              <a:gd name="connsiteY276" fmla="*/ 373273 h 605239"/>
              <a:gd name="connsiteX277" fmla="*/ 373273 h 605239"/>
              <a:gd name="connsiteY277" fmla="*/ 373273 h 605239"/>
              <a:gd name="connsiteX278" fmla="*/ 373273 h 605239"/>
              <a:gd name="connsiteY278" fmla="*/ 373273 h 605239"/>
              <a:gd name="connsiteX279" fmla="*/ 373273 h 605239"/>
              <a:gd name="connsiteY279" fmla="*/ 373273 h 605239"/>
              <a:gd name="connsiteX280" fmla="*/ 373273 h 605239"/>
              <a:gd name="connsiteY280" fmla="*/ 373273 h 605239"/>
              <a:gd name="connsiteX281" fmla="*/ 373273 h 605239"/>
              <a:gd name="connsiteY281" fmla="*/ 373273 h 605239"/>
              <a:gd name="connsiteX282" fmla="*/ 373273 h 605239"/>
              <a:gd name="connsiteY282" fmla="*/ 373273 h 605239"/>
              <a:gd name="connsiteX283" fmla="*/ 373273 h 605239"/>
              <a:gd name="connsiteY283" fmla="*/ 373273 h 605239"/>
              <a:gd name="connsiteX284" fmla="*/ 373273 h 605239"/>
              <a:gd name="connsiteY284" fmla="*/ 373273 h 605239"/>
              <a:gd name="connsiteX285" fmla="*/ 373273 h 605239"/>
              <a:gd name="connsiteY285" fmla="*/ 373273 h 605239"/>
              <a:gd name="connsiteX286" fmla="*/ 373273 h 605239"/>
              <a:gd name="connsiteY286" fmla="*/ 373273 h 605239"/>
              <a:gd name="connsiteX287" fmla="*/ 373273 h 605239"/>
              <a:gd name="connsiteY287" fmla="*/ 373273 h 605239"/>
              <a:gd name="connsiteX288" fmla="*/ 373273 h 605239"/>
              <a:gd name="connsiteY288" fmla="*/ 373273 h 605239"/>
              <a:gd name="connsiteX289" fmla="*/ 373273 h 605239"/>
              <a:gd name="connsiteY289" fmla="*/ 373273 h 605239"/>
              <a:gd name="connsiteX290" fmla="*/ 373273 h 605239"/>
              <a:gd name="connsiteY290" fmla="*/ 373273 h 605239"/>
              <a:gd name="connsiteX291" fmla="*/ 373273 h 605239"/>
              <a:gd name="connsiteY291" fmla="*/ 373273 h 605239"/>
              <a:gd name="connsiteX292" fmla="*/ 373273 h 605239"/>
              <a:gd name="connsiteY292" fmla="*/ 373273 h 605239"/>
              <a:gd name="connsiteX293" fmla="*/ 373273 h 605239"/>
              <a:gd name="connsiteY293" fmla="*/ 373273 h 605239"/>
              <a:gd name="connsiteX294" fmla="*/ 373273 h 605239"/>
              <a:gd name="connsiteY294" fmla="*/ 373273 h 605239"/>
              <a:gd name="connsiteX295" fmla="*/ 373273 h 605239"/>
              <a:gd name="connsiteY295" fmla="*/ 373273 h 605239"/>
              <a:gd name="connsiteX296" fmla="*/ 373273 h 605239"/>
              <a:gd name="connsiteY296" fmla="*/ 373273 h 605239"/>
              <a:gd name="connsiteX297" fmla="*/ 373273 h 605239"/>
              <a:gd name="connsiteY297" fmla="*/ 373273 h 605239"/>
              <a:gd name="connsiteX298" fmla="*/ 373273 h 605239"/>
              <a:gd name="connsiteY298" fmla="*/ 373273 h 605239"/>
              <a:gd name="connsiteX299" fmla="*/ 373273 h 605239"/>
              <a:gd name="connsiteY299" fmla="*/ 373273 h 605239"/>
              <a:gd name="connsiteX300" fmla="*/ 373273 h 605239"/>
              <a:gd name="connsiteY300" fmla="*/ 373273 h 605239"/>
              <a:gd name="connsiteX301" fmla="*/ 373273 h 605239"/>
              <a:gd name="connsiteY301" fmla="*/ 373273 h 605239"/>
              <a:gd name="connsiteX302" fmla="*/ 373273 h 605239"/>
              <a:gd name="connsiteY302" fmla="*/ 373273 h 605239"/>
              <a:gd name="connsiteX303" fmla="*/ 373273 h 605239"/>
              <a:gd name="connsiteY303" fmla="*/ 373273 h 605239"/>
              <a:gd name="connsiteX304" fmla="*/ 373273 h 605239"/>
              <a:gd name="connsiteY304" fmla="*/ 373273 h 605239"/>
              <a:gd name="connsiteX305" fmla="*/ 373273 h 605239"/>
              <a:gd name="connsiteY305" fmla="*/ 373273 h 605239"/>
              <a:gd name="connsiteX306" fmla="*/ 373273 h 605239"/>
              <a:gd name="connsiteY306" fmla="*/ 373273 h 605239"/>
              <a:gd name="connsiteX307" fmla="*/ 373273 h 605239"/>
              <a:gd name="connsiteY307" fmla="*/ 373273 h 605239"/>
              <a:gd name="connsiteX308" fmla="*/ 373273 h 605239"/>
              <a:gd name="connsiteY308" fmla="*/ 373273 h 605239"/>
              <a:gd name="connsiteX309" fmla="*/ 373273 h 605239"/>
              <a:gd name="connsiteY309" fmla="*/ 373273 h 605239"/>
              <a:gd name="connsiteX310" fmla="*/ 373273 h 605239"/>
              <a:gd name="connsiteY310" fmla="*/ 373273 h 605239"/>
              <a:gd name="connsiteX311" fmla="*/ 373273 h 605239"/>
              <a:gd name="connsiteY311" fmla="*/ 373273 h 605239"/>
              <a:gd name="connsiteX312" fmla="*/ 373273 h 605239"/>
              <a:gd name="connsiteY312" fmla="*/ 373273 h 605239"/>
              <a:gd name="connsiteX313" fmla="*/ 373273 h 605239"/>
              <a:gd name="connsiteY313" fmla="*/ 373273 h 605239"/>
              <a:gd name="connsiteX314" fmla="*/ 373273 h 605239"/>
              <a:gd name="connsiteY314" fmla="*/ 373273 h 605239"/>
              <a:gd name="connsiteX315" fmla="*/ 373273 h 605239"/>
              <a:gd name="connsiteY315" fmla="*/ 373273 h 605239"/>
              <a:gd name="connsiteX316" fmla="*/ 373273 h 605239"/>
              <a:gd name="connsiteY316" fmla="*/ 373273 h 605239"/>
              <a:gd name="connsiteX317" fmla="*/ 373273 h 605239"/>
              <a:gd name="connsiteY317" fmla="*/ 373273 h 605239"/>
              <a:gd name="connsiteX318" fmla="*/ 373273 h 605239"/>
              <a:gd name="connsiteY318" fmla="*/ 373273 h 605239"/>
              <a:gd name="connsiteX319" fmla="*/ 373273 h 605239"/>
              <a:gd name="connsiteY319" fmla="*/ 373273 h 605239"/>
              <a:gd name="connsiteX320" fmla="*/ 373273 h 605239"/>
              <a:gd name="connsiteY320" fmla="*/ 373273 h 605239"/>
              <a:gd name="connsiteX321" fmla="*/ 373273 h 605239"/>
              <a:gd name="connsiteY321" fmla="*/ 373273 h 605239"/>
              <a:gd name="connsiteX322" fmla="*/ 373273 h 605239"/>
              <a:gd name="connsiteY322" fmla="*/ 373273 h 605239"/>
              <a:gd name="connsiteX323" fmla="*/ 373273 h 605239"/>
              <a:gd name="connsiteY323" fmla="*/ 373273 h 605239"/>
              <a:gd name="connsiteX324" fmla="*/ 373273 h 605239"/>
              <a:gd name="connsiteY324" fmla="*/ 373273 h 605239"/>
              <a:gd name="connsiteX325" fmla="*/ 373273 h 605239"/>
              <a:gd name="connsiteY325" fmla="*/ 373273 h 605239"/>
              <a:gd name="connsiteX326" fmla="*/ 373273 h 605239"/>
              <a:gd name="connsiteY326" fmla="*/ 373273 h 605239"/>
              <a:gd name="connsiteX327" fmla="*/ 373273 h 605239"/>
              <a:gd name="connsiteY327" fmla="*/ 373273 h 605239"/>
              <a:gd name="connsiteX328" fmla="*/ 373273 h 605239"/>
              <a:gd name="connsiteY328" fmla="*/ 373273 h 605239"/>
              <a:gd name="connsiteX329" fmla="*/ 373273 h 605239"/>
              <a:gd name="connsiteY329" fmla="*/ 373273 h 605239"/>
              <a:gd name="connsiteX330" fmla="*/ 373273 h 605239"/>
              <a:gd name="connsiteY330" fmla="*/ 373273 h 605239"/>
              <a:gd name="connsiteX331" fmla="*/ 373273 h 605239"/>
              <a:gd name="connsiteY331" fmla="*/ 373273 h 605239"/>
              <a:gd name="connsiteX332" fmla="*/ 373273 h 605239"/>
              <a:gd name="connsiteY332" fmla="*/ 373273 h 605239"/>
              <a:gd name="connsiteX333" fmla="*/ 373273 h 605239"/>
              <a:gd name="connsiteY333" fmla="*/ 373273 h 605239"/>
              <a:gd name="connsiteX334" fmla="*/ 373273 h 605239"/>
              <a:gd name="connsiteY334" fmla="*/ 373273 h 605239"/>
              <a:gd name="connsiteX335" fmla="*/ 373273 h 605239"/>
              <a:gd name="connsiteY335" fmla="*/ 373273 h 605239"/>
              <a:gd name="connsiteX336" fmla="*/ 373273 h 605239"/>
              <a:gd name="connsiteY336" fmla="*/ 373273 h 605239"/>
              <a:gd name="connsiteX337" fmla="*/ 373273 h 605239"/>
              <a:gd name="connsiteY337" fmla="*/ 373273 h 605239"/>
              <a:gd name="connsiteX338" fmla="*/ 373273 h 605239"/>
              <a:gd name="connsiteY338" fmla="*/ 373273 h 605239"/>
              <a:gd name="connsiteX339" fmla="*/ 373273 h 605239"/>
              <a:gd name="connsiteY339" fmla="*/ 373273 h 605239"/>
              <a:gd name="connsiteX340" fmla="*/ 373273 h 605239"/>
              <a:gd name="connsiteY340" fmla="*/ 373273 h 605239"/>
              <a:gd name="connsiteX341" fmla="*/ 373273 h 605239"/>
              <a:gd name="connsiteY341" fmla="*/ 373273 h 605239"/>
              <a:gd name="connsiteX342" fmla="*/ 373273 h 605239"/>
              <a:gd name="connsiteY342" fmla="*/ 373273 h 605239"/>
              <a:gd name="connsiteX343" fmla="*/ 373273 h 605239"/>
              <a:gd name="connsiteY343" fmla="*/ 373273 h 605239"/>
              <a:gd name="connsiteX344" fmla="*/ 373273 h 605239"/>
              <a:gd name="connsiteY344" fmla="*/ 373273 h 605239"/>
              <a:gd name="connsiteX345" fmla="*/ 373273 h 605239"/>
              <a:gd name="connsiteY345" fmla="*/ 373273 h 605239"/>
              <a:gd name="connsiteX346" fmla="*/ 373273 h 605239"/>
              <a:gd name="connsiteY346" fmla="*/ 373273 h 605239"/>
              <a:gd name="connsiteX347" fmla="*/ 373273 h 605239"/>
              <a:gd name="connsiteY347" fmla="*/ 373273 h 605239"/>
              <a:gd name="connsiteX348" fmla="*/ 373273 h 605239"/>
              <a:gd name="connsiteY348" fmla="*/ 373273 h 605239"/>
              <a:gd name="connsiteX349" fmla="*/ 373273 h 605239"/>
              <a:gd name="connsiteY349" fmla="*/ 373273 h 605239"/>
              <a:gd name="connsiteX350" fmla="*/ 373273 h 605239"/>
              <a:gd name="connsiteY350" fmla="*/ 373273 h 605239"/>
              <a:gd name="connsiteX351" fmla="*/ 373273 h 605239"/>
              <a:gd name="connsiteY351" fmla="*/ 373273 h 605239"/>
              <a:gd name="connsiteX352" fmla="*/ 373273 h 605239"/>
              <a:gd name="connsiteY352" fmla="*/ 373273 h 605239"/>
              <a:gd name="connsiteX353" fmla="*/ 373273 h 605239"/>
              <a:gd name="connsiteY353" fmla="*/ 373273 h 605239"/>
              <a:gd name="connsiteX354" fmla="*/ 373273 h 605239"/>
              <a:gd name="connsiteY354" fmla="*/ 373273 h 605239"/>
              <a:gd name="connsiteX355" fmla="*/ 373273 h 605239"/>
              <a:gd name="connsiteY355" fmla="*/ 373273 h 605239"/>
              <a:gd name="connsiteX356" fmla="*/ 373273 h 605239"/>
              <a:gd name="connsiteY356" fmla="*/ 373273 h 605239"/>
              <a:gd name="connsiteX357" fmla="*/ 373273 h 605239"/>
              <a:gd name="connsiteY357" fmla="*/ 373273 h 605239"/>
              <a:gd name="connsiteX358" fmla="*/ 373273 h 605239"/>
              <a:gd name="connsiteY358" fmla="*/ 373273 h 605239"/>
              <a:gd name="connsiteX359" fmla="*/ 373273 h 605239"/>
              <a:gd name="connsiteY359" fmla="*/ 373273 h 605239"/>
              <a:gd name="connsiteX360" fmla="*/ 373273 h 605239"/>
              <a:gd name="connsiteY360" fmla="*/ 373273 h 605239"/>
              <a:gd name="connsiteX361" fmla="*/ 373273 h 605239"/>
              <a:gd name="connsiteY361" fmla="*/ 373273 h 605239"/>
              <a:gd name="connsiteX362" fmla="*/ 373273 h 605239"/>
              <a:gd name="connsiteY362" fmla="*/ 373273 h 605239"/>
              <a:gd name="connsiteX363" fmla="*/ 373273 h 605239"/>
              <a:gd name="connsiteY363" fmla="*/ 373273 h 605239"/>
              <a:gd name="connsiteX364" fmla="*/ 373273 h 605239"/>
              <a:gd name="connsiteY364" fmla="*/ 373273 h 605239"/>
              <a:gd name="connsiteX365" fmla="*/ 373273 h 605239"/>
              <a:gd name="connsiteY365" fmla="*/ 373273 h 605239"/>
              <a:gd name="connsiteX366" fmla="*/ 373273 h 605239"/>
              <a:gd name="connsiteY366" fmla="*/ 373273 h 605239"/>
              <a:gd name="connsiteX367" fmla="*/ 373273 h 605239"/>
              <a:gd name="connsiteY367" fmla="*/ 373273 h 605239"/>
              <a:gd name="connsiteX368" fmla="*/ 373273 h 605239"/>
              <a:gd name="connsiteY368" fmla="*/ 373273 h 605239"/>
              <a:gd name="connsiteX369" fmla="*/ 373273 h 605239"/>
              <a:gd name="connsiteY369" fmla="*/ 373273 h 605239"/>
              <a:gd name="connsiteX370" fmla="*/ 373273 h 605239"/>
              <a:gd name="connsiteY370" fmla="*/ 373273 h 605239"/>
              <a:gd name="connsiteX371" fmla="*/ 373273 h 605239"/>
              <a:gd name="connsiteY371" fmla="*/ 373273 h 605239"/>
              <a:gd name="connsiteX372" fmla="*/ 373273 h 605239"/>
              <a:gd name="connsiteY372" fmla="*/ 373273 h 605239"/>
              <a:gd name="connsiteX373" fmla="*/ 373273 h 605239"/>
              <a:gd name="connsiteY373" fmla="*/ 373273 h 605239"/>
              <a:gd name="connsiteX374" fmla="*/ 373273 h 605239"/>
              <a:gd name="connsiteY374" fmla="*/ 373273 h 605239"/>
              <a:gd name="connsiteX375" fmla="*/ 373273 h 605239"/>
              <a:gd name="connsiteY375" fmla="*/ 373273 h 605239"/>
              <a:gd name="connsiteX376" fmla="*/ 373273 h 605239"/>
              <a:gd name="connsiteY376" fmla="*/ 373273 h 605239"/>
              <a:gd name="connsiteX377" fmla="*/ 373273 h 605239"/>
              <a:gd name="connsiteY377" fmla="*/ 373273 h 605239"/>
              <a:gd name="connsiteX378" fmla="*/ 373273 h 605239"/>
              <a:gd name="connsiteY378" fmla="*/ 373273 h 605239"/>
              <a:gd name="connsiteX379" fmla="*/ 373273 h 605239"/>
              <a:gd name="connsiteY379" fmla="*/ 373273 h 605239"/>
              <a:gd name="connsiteX380" fmla="*/ 373273 h 605239"/>
              <a:gd name="connsiteY380" fmla="*/ 373273 h 605239"/>
              <a:gd name="connsiteX381" fmla="*/ 373273 h 605239"/>
              <a:gd name="connsiteY381" fmla="*/ 373273 h 605239"/>
              <a:gd name="connsiteX382" fmla="*/ 373273 h 605239"/>
              <a:gd name="connsiteY382" fmla="*/ 373273 h 605239"/>
              <a:gd name="connsiteX383" fmla="*/ 373273 h 605239"/>
              <a:gd name="connsiteY383" fmla="*/ 373273 h 605239"/>
              <a:gd name="connsiteX384" fmla="*/ 373273 h 605239"/>
              <a:gd name="connsiteY384" fmla="*/ 373273 h 605239"/>
              <a:gd name="connsiteX385" fmla="*/ 373273 h 605239"/>
              <a:gd name="connsiteY385" fmla="*/ 373273 h 605239"/>
              <a:gd name="connsiteX386" fmla="*/ 373273 h 605239"/>
              <a:gd name="connsiteY386" fmla="*/ 373273 h 605239"/>
              <a:gd name="connsiteX387" fmla="*/ 373273 h 605239"/>
              <a:gd name="connsiteY387" fmla="*/ 373273 h 605239"/>
              <a:gd name="connsiteX388" fmla="*/ 373273 h 605239"/>
              <a:gd name="connsiteY388" fmla="*/ 373273 h 605239"/>
              <a:gd name="connsiteX389" fmla="*/ 373273 h 605239"/>
              <a:gd name="connsiteY389" fmla="*/ 373273 h 605239"/>
              <a:gd name="connsiteX390" fmla="*/ 373273 h 605239"/>
              <a:gd name="connsiteY390" fmla="*/ 373273 h 605239"/>
              <a:gd name="connsiteX391" fmla="*/ 373273 h 605239"/>
              <a:gd name="connsiteY391" fmla="*/ 373273 h 605239"/>
              <a:gd name="connsiteX392" fmla="*/ 373273 h 605239"/>
              <a:gd name="connsiteY392" fmla="*/ 373273 h 605239"/>
              <a:gd name="connsiteX393" fmla="*/ 373273 h 605239"/>
              <a:gd name="connsiteY393" fmla="*/ 373273 h 605239"/>
              <a:gd name="connsiteX394" fmla="*/ 373273 h 605239"/>
              <a:gd name="connsiteY394" fmla="*/ 373273 h 605239"/>
              <a:gd name="connsiteX395" fmla="*/ 373273 h 605239"/>
              <a:gd name="connsiteY395" fmla="*/ 373273 h 605239"/>
              <a:gd name="connsiteX396" fmla="*/ 373273 h 605239"/>
              <a:gd name="connsiteY396" fmla="*/ 373273 h 605239"/>
              <a:gd name="connsiteX397" fmla="*/ 373273 h 605239"/>
              <a:gd name="connsiteY397" fmla="*/ 373273 h 605239"/>
              <a:gd name="connsiteX398" fmla="*/ 373273 h 605239"/>
              <a:gd name="connsiteY398" fmla="*/ 373273 h 605239"/>
              <a:gd name="connsiteX399" fmla="*/ 373273 h 605239"/>
              <a:gd name="connsiteY399" fmla="*/ 373273 h 605239"/>
              <a:gd name="connsiteX400" fmla="*/ 373273 h 605239"/>
              <a:gd name="connsiteY400" fmla="*/ 373273 h 605239"/>
              <a:gd name="connsiteX401" fmla="*/ 373273 h 605239"/>
              <a:gd name="connsiteY401" fmla="*/ 373273 h 605239"/>
              <a:gd name="connsiteX402" fmla="*/ 373273 h 605239"/>
              <a:gd name="connsiteY402" fmla="*/ 373273 h 605239"/>
              <a:gd name="connsiteX403" fmla="*/ 373273 h 605239"/>
              <a:gd name="connsiteY403" fmla="*/ 373273 h 605239"/>
              <a:gd name="connsiteX404" fmla="*/ 373273 h 605239"/>
              <a:gd name="connsiteY404" fmla="*/ 373273 h 605239"/>
              <a:gd name="connsiteX405" fmla="*/ 373273 h 605239"/>
              <a:gd name="connsiteY405" fmla="*/ 373273 h 605239"/>
              <a:gd name="connsiteX406" fmla="*/ 373273 h 605239"/>
              <a:gd name="connsiteY406" fmla="*/ 373273 h 605239"/>
              <a:gd name="connsiteX407" fmla="*/ 373273 h 605239"/>
              <a:gd name="connsiteY407" fmla="*/ 373273 h 605239"/>
              <a:gd name="connsiteX408" fmla="*/ 373273 h 605239"/>
              <a:gd name="connsiteY408" fmla="*/ 373273 h 605239"/>
              <a:gd name="connsiteX409" fmla="*/ 373273 h 605239"/>
              <a:gd name="connsiteY409" fmla="*/ 373273 h 605239"/>
              <a:gd name="connsiteX410" fmla="*/ 373273 h 605239"/>
              <a:gd name="connsiteY410" fmla="*/ 373273 h 605239"/>
              <a:gd name="connsiteX411" fmla="*/ 373273 h 605239"/>
              <a:gd name="connsiteY411" fmla="*/ 373273 h 605239"/>
              <a:gd name="connsiteX412" fmla="*/ 373273 h 605239"/>
              <a:gd name="connsiteY412" fmla="*/ 373273 h 605239"/>
              <a:gd name="connsiteX413" fmla="*/ 373273 h 605239"/>
              <a:gd name="connsiteY413" fmla="*/ 373273 h 605239"/>
              <a:gd name="connsiteX414" fmla="*/ 373273 h 605239"/>
              <a:gd name="connsiteY414" fmla="*/ 373273 h 605239"/>
              <a:gd name="connsiteX415" fmla="*/ 373273 h 605239"/>
              <a:gd name="connsiteY415" fmla="*/ 373273 h 605239"/>
              <a:gd name="connsiteX416" fmla="*/ 373273 h 605239"/>
              <a:gd name="connsiteY416" fmla="*/ 373273 h 605239"/>
              <a:gd name="connsiteX417" fmla="*/ 373273 h 605239"/>
              <a:gd name="connsiteY417" fmla="*/ 373273 h 605239"/>
              <a:gd name="connsiteX418" fmla="*/ 373273 h 605239"/>
              <a:gd name="connsiteY418" fmla="*/ 373273 h 605239"/>
              <a:gd name="connsiteX419" fmla="*/ 373273 h 605239"/>
              <a:gd name="connsiteY419" fmla="*/ 373273 h 605239"/>
              <a:gd name="connsiteX420" fmla="*/ 373273 h 605239"/>
              <a:gd name="connsiteY420" fmla="*/ 373273 h 605239"/>
              <a:gd name="connsiteX421" fmla="*/ 373273 h 605239"/>
              <a:gd name="connsiteY421" fmla="*/ 373273 h 605239"/>
              <a:gd name="connsiteX422" fmla="*/ 373273 h 605239"/>
              <a:gd name="connsiteY422" fmla="*/ 373273 h 605239"/>
              <a:gd name="connsiteX423" fmla="*/ 373273 h 605239"/>
              <a:gd name="connsiteY423" fmla="*/ 373273 h 605239"/>
              <a:gd name="connsiteX424" fmla="*/ 373273 h 605239"/>
              <a:gd name="connsiteY424" fmla="*/ 373273 h 605239"/>
              <a:gd name="connsiteX425" fmla="*/ 373273 h 605239"/>
              <a:gd name="connsiteY425" fmla="*/ 373273 h 605239"/>
              <a:gd name="connsiteX426" fmla="*/ 373273 h 605239"/>
              <a:gd name="connsiteY426" fmla="*/ 373273 h 605239"/>
              <a:gd name="connsiteX427" fmla="*/ 373273 h 605239"/>
              <a:gd name="connsiteY427" fmla="*/ 373273 h 605239"/>
              <a:gd name="connsiteX428" fmla="*/ 373273 h 605239"/>
              <a:gd name="connsiteY428" fmla="*/ 373273 h 605239"/>
              <a:gd name="connsiteX429" fmla="*/ 373273 h 605239"/>
              <a:gd name="connsiteY429" fmla="*/ 373273 h 605239"/>
              <a:gd name="connsiteX430" fmla="*/ 373273 h 605239"/>
              <a:gd name="connsiteY430" fmla="*/ 373273 h 605239"/>
              <a:gd name="connsiteX431" fmla="*/ 373273 h 605239"/>
              <a:gd name="connsiteY431" fmla="*/ 373273 h 605239"/>
              <a:gd name="connsiteX432" fmla="*/ 373273 h 605239"/>
              <a:gd name="connsiteY432" fmla="*/ 373273 h 605239"/>
              <a:gd name="connsiteX433" fmla="*/ 373273 h 605239"/>
              <a:gd name="connsiteY433" fmla="*/ 373273 h 605239"/>
              <a:gd name="connsiteX434" fmla="*/ 373273 h 605239"/>
              <a:gd name="connsiteY434" fmla="*/ 373273 h 605239"/>
              <a:gd name="connsiteX435" fmla="*/ 373273 h 605239"/>
              <a:gd name="connsiteY435" fmla="*/ 373273 h 605239"/>
              <a:gd name="connsiteX436" fmla="*/ 373273 h 605239"/>
              <a:gd name="connsiteY436" fmla="*/ 373273 h 605239"/>
              <a:gd name="connsiteX437" fmla="*/ 373273 h 605239"/>
              <a:gd name="connsiteY437" fmla="*/ 373273 h 605239"/>
              <a:gd name="connsiteX438" fmla="*/ 373273 h 605239"/>
              <a:gd name="connsiteY438" fmla="*/ 373273 h 605239"/>
              <a:gd name="connsiteX439" fmla="*/ 373273 h 605239"/>
              <a:gd name="connsiteY439" fmla="*/ 373273 h 605239"/>
              <a:gd name="connsiteX440" fmla="*/ 373273 h 605239"/>
              <a:gd name="connsiteY440" fmla="*/ 373273 h 605239"/>
              <a:gd name="connsiteX441" fmla="*/ 373273 h 605239"/>
              <a:gd name="connsiteY441" fmla="*/ 373273 h 605239"/>
              <a:gd name="connsiteX442" fmla="*/ 373273 h 605239"/>
              <a:gd name="connsiteY442" fmla="*/ 373273 h 605239"/>
              <a:gd name="connsiteX443" fmla="*/ 373273 h 605239"/>
              <a:gd name="connsiteY443" fmla="*/ 373273 h 605239"/>
              <a:gd name="connsiteX444" fmla="*/ 373273 h 605239"/>
              <a:gd name="connsiteY444" fmla="*/ 373273 h 605239"/>
              <a:gd name="connsiteX445" fmla="*/ 373273 h 605239"/>
              <a:gd name="connsiteY445" fmla="*/ 373273 h 605239"/>
              <a:gd name="connsiteX446" fmla="*/ 373273 h 605239"/>
              <a:gd name="connsiteY446" fmla="*/ 373273 h 605239"/>
              <a:gd name="connsiteX447" fmla="*/ 373273 h 605239"/>
              <a:gd name="connsiteY447" fmla="*/ 373273 h 605239"/>
              <a:gd name="connsiteX448" fmla="*/ 373273 h 605239"/>
              <a:gd name="connsiteY448" fmla="*/ 373273 h 605239"/>
              <a:gd name="connsiteX449" fmla="*/ 373273 h 605239"/>
              <a:gd name="connsiteY449" fmla="*/ 373273 h 605239"/>
              <a:gd name="connsiteX450" fmla="*/ 373273 h 605239"/>
              <a:gd name="connsiteY450" fmla="*/ 373273 h 605239"/>
              <a:gd name="connsiteX451" fmla="*/ 373273 h 605239"/>
              <a:gd name="connsiteY451" fmla="*/ 373273 h 605239"/>
              <a:gd name="connsiteX452" fmla="*/ 373273 h 605239"/>
              <a:gd name="connsiteY452" fmla="*/ 373273 h 605239"/>
              <a:gd name="connsiteX453" fmla="*/ 373273 h 605239"/>
              <a:gd name="connsiteY453" fmla="*/ 373273 h 605239"/>
              <a:gd name="connsiteX454" fmla="*/ 373273 h 605239"/>
              <a:gd name="connsiteY454" fmla="*/ 373273 h 605239"/>
              <a:gd name="connsiteX455" fmla="*/ 373273 h 605239"/>
              <a:gd name="connsiteY455" fmla="*/ 373273 h 605239"/>
              <a:gd name="connsiteX456" fmla="*/ 373273 h 605239"/>
              <a:gd name="connsiteY456" fmla="*/ 373273 h 605239"/>
              <a:gd name="connsiteX457" fmla="*/ 373273 h 605239"/>
              <a:gd name="connsiteY457" fmla="*/ 373273 h 605239"/>
              <a:gd name="connsiteX458" fmla="*/ 373273 h 605239"/>
              <a:gd name="connsiteY458" fmla="*/ 373273 h 605239"/>
              <a:gd name="connsiteX459" fmla="*/ 373273 h 605239"/>
              <a:gd name="connsiteY459" fmla="*/ 373273 h 605239"/>
              <a:gd name="connsiteX460" fmla="*/ 373273 h 605239"/>
              <a:gd name="connsiteY460" fmla="*/ 373273 h 605239"/>
              <a:gd name="connsiteX461" fmla="*/ 373273 h 605239"/>
              <a:gd name="connsiteY461" fmla="*/ 373273 h 605239"/>
              <a:gd name="connsiteX462" fmla="*/ 373273 h 605239"/>
              <a:gd name="connsiteY462" fmla="*/ 373273 h 605239"/>
              <a:gd name="connsiteX463" fmla="*/ 373273 h 605239"/>
              <a:gd name="connsiteY463" fmla="*/ 373273 h 605239"/>
              <a:gd name="connsiteX464" fmla="*/ 373273 h 605239"/>
              <a:gd name="connsiteY464" fmla="*/ 373273 h 605239"/>
              <a:gd name="connsiteX465" fmla="*/ 373273 h 605239"/>
              <a:gd name="connsiteY465" fmla="*/ 373273 h 605239"/>
              <a:gd name="connsiteX466" fmla="*/ 373273 h 605239"/>
              <a:gd name="connsiteY466" fmla="*/ 373273 h 605239"/>
              <a:gd name="connsiteX467" fmla="*/ 373273 h 605239"/>
              <a:gd name="connsiteY467" fmla="*/ 373273 h 605239"/>
              <a:gd name="connsiteX468" fmla="*/ 373273 h 605239"/>
              <a:gd name="connsiteY468" fmla="*/ 373273 h 605239"/>
              <a:gd name="connsiteX469" fmla="*/ 373273 h 605239"/>
              <a:gd name="connsiteY469" fmla="*/ 373273 h 605239"/>
              <a:gd name="connsiteX470" fmla="*/ 373273 h 605239"/>
              <a:gd name="connsiteY470" fmla="*/ 373273 h 605239"/>
              <a:gd name="connsiteX471" fmla="*/ 373273 h 605239"/>
              <a:gd name="connsiteY471" fmla="*/ 373273 h 605239"/>
              <a:gd name="connsiteX472" fmla="*/ 373273 h 605239"/>
              <a:gd name="connsiteY472" fmla="*/ 373273 h 605239"/>
              <a:gd name="connsiteX473" fmla="*/ 373273 h 605239"/>
              <a:gd name="connsiteY473" fmla="*/ 373273 h 605239"/>
              <a:gd name="connsiteX474" fmla="*/ 373273 h 605239"/>
              <a:gd name="connsiteY474" fmla="*/ 373273 h 605239"/>
              <a:gd name="connsiteX475" fmla="*/ 373273 h 605239"/>
              <a:gd name="connsiteY475" fmla="*/ 373273 h 605239"/>
              <a:gd name="connsiteX476" fmla="*/ 373273 h 605239"/>
              <a:gd name="connsiteY476" fmla="*/ 373273 h 605239"/>
              <a:gd name="connsiteX477" fmla="*/ 373273 h 605239"/>
              <a:gd name="connsiteY477" fmla="*/ 373273 h 605239"/>
              <a:gd name="connsiteX478" fmla="*/ 373273 h 605239"/>
              <a:gd name="connsiteY478" fmla="*/ 373273 h 605239"/>
              <a:gd name="connsiteX479" fmla="*/ 373273 h 605239"/>
              <a:gd name="connsiteY479" fmla="*/ 373273 h 605239"/>
              <a:gd name="connsiteX480" fmla="*/ 373273 h 605239"/>
              <a:gd name="connsiteY480" fmla="*/ 373273 h 605239"/>
              <a:gd name="connsiteX481" fmla="*/ 373273 h 605239"/>
              <a:gd name="connsiteY481" fmla="*/ 373273 h 605239"/>
              <a:gd name="connsiteX482" fmla="*/ 373273 h 605239"/>
              <a:gd name="connsiteY482" fmla="*/ 373273 h 605239"/>
              <a:gd name="connsiteX483" fmla="*/ 373273 h 605239"/>
              <a:gd name="connsiteY483" fmla="*/ 373273 h 605239"/>
              <a:gd name="connsiteX484" fmla="*/ 373273 h 605239"/>
              <a:gd name="connsiteY484" fmla="*/ 373273 h 605239"/>
              <a:gd name="connsiteX485" fmla="*/ 373273 h 605239"/>
              <a:gd name="connsiteY485" fmla="*/ 373273 h 605239"/>
              <a:gd name="connsiteX486" fmla="*/ 373273 h 605239"/>
              <a:gd name="connsiteY486" fmla="*/ 373273 h 605239"/>
              <a:gd name="connsiteX487" fmla="*/ 373273 h 605239"/>
              <a:gd name="connsiteY487" fmla="*/ 373273 h 605239"/>
              <a:gd name="connsiteX488" fmla="*/ 373273 h 605239"/>
              <a:gd name="connsiteY488" fmla="*/ 373273 h 605239"/>
              <a:gd name="connsiteX489" fmla="*/ 373273 h 605239"/>
              <a:gd name="connsiteY489" fmla="*/ 373273 h 605239"/>
              <a:gd name="connsiteX490" fmla="*/ 373273 h 605239"/>
              <a:gd name="connsiteY490" fmla="*/ 373273 h 605239"/>
              <a:gd name="connsiteX491" fmla="*/ 373273 h 605239"/>
              <a:gd name="connsiteY491" fmla="*/ 373273 h 605239"/>
              <a:gd name="connsiteX492" fmla="*/ 373273 h 605239"/>
              <a:gd name="connsiteY492" fmla="*/ 373273 h 605239"/>
              <a:gd name="connsiteX493" fmla="*/ 373273 h 605239"/>
              <a:gd name="connsiteY493" fmla="*/ 373273 h 605239"/>
              <a:gd name="connsiteX494" fmla="*/ 373273 h 605239"/>
              <a:gd name="connsiteY494" fmla="*/ 373273 h 605239"/>
              <a:gd name="connsiteX495" fmla="*/ 373273 h 605239"/>
              <a:gd name="connsiteY495" fmla="*/ 373273 h 605239"/>
              <a:gd name="connsiteX496" fmla="*/ 373273 h 605239"/>
              <a:gd name="connsiteY496" fmla="*/ 373273 h 605239"/>
              <a:gd name="connsiteX497" fmla="*/ 373273 h 605239"/>
              <a:gd name="connsiteY497" fmla="*/ 373273 h 605239"/>
              <a:gd name="connsiteX498" fmla="*/ 373273 h 605239"/>
              <a:gd name="connsiteY498" fmla="*/ 373273 h 605239"/>
              <a:gd name="connsiteX499" fmla="*/ 373273 h 605239"/>
              <a:gd name="connsiteY499" fmla="*/ 373273 h 605239"/>
              <a:gd name="connsiteX500" fmla="*/ 373273 h 605239"/>
              <a:gd name="connsiteY500" fmla="*/ 373273 h 605239"/>
              <a:gd name="connsiteX501" fmla="*/ 373273 h 605239"/>
              <a:gd name="connsiteY501" fmla="*/ 373273 h 605239"/>
              <a:gd name="connsiteX502" fmla="*/ 373273 h 605239"/>
              <a:gd name="connsiteY502" fmla="*/ 373273 h 605239"/>
              <a:gd name="connsiteX503" fmla="*/ 373273 h 605239"/>
              <a:gd name="connsiteY503" fmla="*/ 373273 h 605239"/>
              <a:gd name="connsiteX504" fmla="*/ 373273 h 605239"/>
              <a:gd name="connsiteY504" fmla="*/ 373273 h 605239"/>
              <a:gd name="connsiteX505" fmla="*/ 373273 h 605239"/>
              <a:gd name="connsiteY505" fmla="*/ 373273 h 605239"/>
              <a:gd name="connsiteX506" fmla="*/ 373273 h 605239"/>
              <a:gd name="connsiteY506" fmla="*/ 373273 h 605239"/>
              <a:gd name="connsiteX507" fmla="*/ 373273 h 605239"/>
              <a:gd name="connsiteY507" fmla="*/ 373273 h 605239"/>
              <a:gd name="connsiteX508" fmla="*/ 373273 h 605239"/>
              <a:gd name="connsiteY508" fmla="*/ 373273 h 605239"/>
              <a:gd name="connsiteX509" fmla="*/ 373273 h 605239"/>
              <a:gd name="connsiteY509" fmla="*/ 373273 h 605239"/>
              <a:gd name="connsiteX510" fmla="*/ 373273 h 605239"/>
              <a:gd name="connsiteY510" fmla="*/ 373273 h 605239"/>
              <a:gd name="connsiteX511" fmla="*/ 373273 h 605239"/>
              <a:gd name="connsiteY511" fmla="*/ 373273 h 605239"/>
              <a:gd name="connsiteX512" fmla="*/ 373273 h 605239"/>
              <a:gd name="connsiteY512" fmla="*/ 373273 h 605239"/>
              <a:gd name="connsiteX513" fmla="*/ 373273 h 605239"/>
              <a:gd name="connsiteY513" fmla="*/ 373273 h 605239"/>
              <a:gd name="connsiteX514" fmla="*/ 373273 h 605239"/>
              <a:gd name="connsiteY514" fmla="*/ 373273 h 605239"/>
              <a:gd name="connsiteX515" fmla="*/ 373273 h 605239"/>
              <a:gd name="connsiteY515" fmla="*/ 373273 h 605239"/>
              <a:gd name="connsiteX516" fmla="*/ 373273 h 605239"/>
              <a:gd name="connsiteY516" fmla="*/ 373273 h 605239"/>
              <a:gd name="connsiteX517" fmla="*/ 373273 h 605239"/>
              <a:gd name="connsiteY517" fmla="*/ 373273 h 605239"/>
              <a:gd name="connsiteX518" fmla="*/ 373273 h 605239"/>
              <a:gd name="connsiteY518" fmla="*/ 373273 h 605239"/>
              <a:gd name="connsiteX519" fmla="*/ 373273 h 605239"/>
              <a:gd name="connsiteY519" fmla="*/ 373273 h 605239"/>
              <a:gd name="connsiteX520" fmla="*/ 373273 h 605239"/>
              <a:gd name="connsiteY520" fmla="*/ 373273 h 605239"/>
              <a:gd name="connsiteX521" fmla="*/ 373273 h 605239"/>
              <a:gd name="connsiteY521" fmla="*/ 373273 h 605239"/>
              <a:gd name="connsiteX522" fmla="*/ 373273 h 605239"/>
              <a:gd name="connsiteY522" fmla="*/ 373273 h 605239"/>
              <a:gd name="connsiteX523" fmla="*/ 373273 h 605239"/>
              <a:gd name="connsiteY523" fmla="*/ 373273 h 605239"/>
              <a:gd name="connsiteX524" fmla="*/ 373273 h 605239"/>
              <a:gd name="connsiteY524" fmla="*/ 373273 h 605239"/>
              <a:gd name="connsiteX525" fmla="*/ 373273 h 605239"/>
              <a:gd name="connsiteY525" fmla="*/ 373273 h 605239"/>
              <a:gd name="connsiteX526" fmla="*/ 373273 h 605239"/>
              <a:gd name="connsiteY526" fmla="*/ 373273 h 605239"/>
              <a:gd name="connsiteX527" fmla="*/ 373273 h 605239"/>
              <a:gd name="connsiteY527" fmla="*/ 373273 h 605239"/>
              <a:gd name="connsiteX528" fmla="*/ 373273 h 605239"/>
              <a:gd name="connsiteY528" fmla="*/ 373273 h 605239"/>
              <a:gd name="connsiteX529" fmla="*/ 373273 h 605239"/>
              <a:gd name="connsiteY529" fmla="*/ 373273 h 605239"/>
              <a:gd name="connsiteX530" fmla="*/ 373273 h 605239"/>
              <a:gd name="connsiteY530" fmla="*/ 373273 h 605239"/>
              <a:gd name="connsiteX531" fmla="*/ 373273 h 605239"/>
              <a:gd name="connsiteY531" fmla="*/ 373273 h 605239"/>
              <a:gd name="connsiteX532" fmla="*/ 373273 h 605239"/>
              <a:gd name="connsiteY532" fmla="*/ 373273 h 605239"/>
              <a:gd name="connsiteX533" fmla="*/ 373273 h 605239"/>
              <a:gd name="connsiteY533" fmla="*/ 373273 h 605239"/>
              <a:gd name="connsiteX534" fmla="*/ 373273 h 605239"/>
              <a:gd name="connsiteY534" fmla="*/ 373273 h 605239"/>
              <a:gd name="connsiteX535" fmla="*/ 373273 h 605239"/>
              <a:gd name="connsiteY535" fmla="*/ 373273 h 605239"/>
              <a:gd name="connsiteX536" fmla="*/ 373273 h 605239"/>
              <a:gd name="connsiteY536" fmla="*/ 373273 h 605239"/>
              <a:gd name="connsiteX537" fmla="*/ 373273 h 605239"/>
              <a:gd name="connsiteY537" fmla="*/ 373273 h 605239"/>
              <a:gd name="connsiteX538" fmla="*/ 373273 h 605239"/>
              <a:gd name="connsiteY538" fmla="*/ 373273 h 605239"/>
              <a:gd name="connsiteX539" fmla="*/ 373273 h 605239"/>
              <a:gd name="connsiteY539" fmla="*/ 373273 h 605239"/>
              <a:gd name="connsiteX540" fmla="*/ 373273 h 605239"/>
              <a:gd name="connsiteY540" fmla="*/ 373273 h 605239"/>
              <a:gd name="connsiteX541" fmla="*/ 373273 h 605239"/>
              <a:gd name="connsiteY541" fmla="*/ 373273 h 605239"/>
              <a:gd name="connsiteX542" fmla="*/ 373273 h 605239"/>
              <a:gd name="connsiteY542" fmla="*/ 373273 h 605239"/>
              <a:gd name="connsiteX543" fmla="*/ 373273 h 605239"/>
              <a:gd name="connsiteY543" fmla="*/ 373273 h 605239"/>
              <a:gd name="connsiteX544" fmla="*/ 373273 h 605239"/>
              <a:gd name="connsiteY544" fmla="*/ 373273 h 605239"/>
              <a:gd name="connsiteX545" fmla="*/ 373273 h 605239"/>
              <a:gd name="connsiteY545" fmla="*/ 373273 h 605239"/>
              <a:gd name="connsiteX546" fmla="*/ 373273 h 605239"/>
              <a:gd name="connsiteY546" fmla="*/ 373273 h 605239"/>
              <a:gd name="connsiteX547" fmla="*/ 373273 h 605239"/>
              <a:gd name="connsiteY547" fmla="*/ 373273 h 605239"/>
              <a:gd name="connsiteX548" fmla="*/ 373273 h 605239"/>
              <a:gd name="connsiteY548" fmla="*/ 373273 h 605239"/>
              <a:gd name="connsiteX549" fmla="*/ 373273 h 605239"/>
              <a:gd name="connsiteY549" fmla="*/ 373273 h 605239"/>
              <a:gd name="connsiteX550" fmla="*/ 373273 h 605239"/>
              <a:gd name="connsiteY550" fmla="*/ 373273 h 605239"/>
              <a:gd name="connsiteX551" fmla="*/ 373273 h 605239"/>
              <a:gd name="connsiteY551" fmla="*/ 373273 h 605239"/>
              <a:gd name="connsiteX552" fmla="*/ 373273 h 605239"/>
              <a:gd name="connsiteY552" fmla="*/ 373273 h 605239"/>
              <a:gd name="connsiteX553" fmla="*/ 373273 h 605239"/>
              <a:gd name="connsiteY553" fmla="*/ 373273 h 605239"/>
              <a:gd name="connsiteX554" fmla="*/ 373273 h 605239"/>
              <a:gd name="connsiteY554" fmla="*/ 373273 h 605239"/>
              <a:gd name="connsiteX555" fmla="*/ 373273 h 605239"/>
              <a:gd name="connsiteY555" fmla="*/ 373273 h 605239"/>
              <a:gd name="connsiteX556" fmla="*/ 373273 h 605239"/>
              <a:gd name="connsiteY556" fmla="*/ 373273 h 605239"/>
              <a:gd name="connsiteX557" fmla="*/ 373273 h 605239"/>
              <a:gd name="connsiteY557" fmla="*/ 373273 h 605239"/>
              <a:gd name="connsiteX558" fmla="*/ 373273 h 605239"/>
              <a:gd name="connsiteY558" fmla="*/ 373273 h 605239"/>
              <a:gd name="connsiteX559" fmla="*/ 373273 h 605239"/>
              <a:gd name="connsiteY559" fmla="*/ 373273 h 605239"/>
              <a:gd name="connsiteX560" fmla="*/ 373273 h 605239"/>
              <a:gd name="connsiteY560" fmla="*/ 373273 h 605239"/>
              <a:gd name="connsiteX561" fmla="*/ 373273 h 605239"/>
              <a:gd name="connsiteY561" fmla="*/ 373273 h 605239"/>
              <a:gd name="connsiteX562" fmla="*/ 373273 h 605239"/>
              <a:gd name="connsiteY562" fmla="*/ 373273 h 605239"/>
              <a:gd name="connsiteX563" fmla="*/ 373273 h 605239"/>
              <a:gd name="connsiteY563" fmla="*/ 373273 h 605239"/>
              <a:gd name="connsiteX564" fmla="*/ 373273 h 605239"/>
              <a:gd name="connsiteY564" fmla="*/ 373273 h 605239"/>
              <a:gd name="connsiteX565" fmla="*/ 373273 h 605239"/>
              <a:gd name="connsiteY565" fmla="*/ 373273 h 605239"/>
              <a:gd name="connsiteX566" fmla="*/ 373273 h 605239"/>
              <a:gd name="connsiteY566" fmla="*/ 373273 h 605239"/>
              <a:gd name="connsiteX567" fmla="*/ 373273 h 605239"/>
              <a:gd name="connsiteY567" fmla="*/ 373273 h 605239"/>
              <a:gd name="connsiteX568" fmla="*/ 373273 h 605239"/>
              <a:gd name="connsiteY568" fmla="*/ 373273 h 605239"/>
              <a:gd name="connsiteX569" fmla="*/ 373273 h 605239"/>
              <a:gd name="connsiteY569" fmla="*/ 373273 h 605239"/>
              <a:gd name="connsiteX570" fmla="*/ 373273 h 605239"/>
              <a:gd name="connsiteY570" fmla="*/ 373273 h 605239"/>
              <a:gd name="connsiteX571" fmla="*/ 373273 h 605239"/>
              <a:gd name="connsiteY571" fmla="*/ 373273 h 605239"/>
              <a:gd name="connsiteX572" fmla="*/ 373273 h 605239"/>
              <a:gd name="connsiteY572" fmla="*/ 373273 h 605239"/>
              <a:gd name="connsiteX573" fmla="*/ 373273 h 605239"/>
              <a:gd name="connsiteY573" fmla="*/ 373273 h 605239"/>
              <a:gd name="connsiteX574" fmla="*/ 373273 h 605239"/>
              <a:gd name="connsiteY574" fmla="*/ 373273 h 605239"/>
              <a:gd name="connsiteX575" fmla="*/ 373273 h 605239"/>
              <a:gd name="connsiteY575" fmla="*/ 373273 h 605239"/>
              <a:gd name="connsiteX576" fmla="*/ 373273 h 605239"/>
              <a:gd name="connsiteY576" fmla="*/ 373273 h 605239"/>
              <a:gd name="connsiteX577" fmla="*/ 373273 h 605239"/>
              <a:gd name="connsiteY577" fmla="*/ 373273 h 605239"/>
              <a:gd name="connsiteX578" fmla="*/ 373273 h 605239"/>
              <a:gd name="connsiteY578" fmla="*/ 373273 h 605239"/>
              <a:gd name="connsiteX579" fmla="*/ 373273 h 605239"/>
              <a:gd name="connsiteY579" fmla="*/ 373273 h 605239"/>
              <a:gd name="connsiteX580" fmla="*/ 373273 h 605239"/>
              <a:gd name="connsiteY580" fmla="*/ 373273 h 605239"/>
              <a:gd name="connsiteX581" fmla="*/ 373273 h 605239"/>
              <a:gd name="connsiteY581" fmla="*/ 373273 h 605239"/>
              <a:gd name="connsiteX582" fmla="*/ 373273 h 605239"/>
              <a:gd name="connsiteY582" fmla="*/ 373273 h 605239"/>
              <a:gd name="connsiteX583" fmla="*/ 373273 h 605239"/>
              <a:gd name="connsiteY583" fmla="*/ 373273 h 605239"/>
              <a:gd name="connsiteX584" fmla="*/ 373273 h 605239"/>
              <a:gd name="connsiteY584" fmla="*/ 373273 h 605239"/>
              <a:gd name="connsiteX585" fmla="*/ 373273 h 605239"/>
              <a:gd name="connsiteY585" fmla="*/ 373273 h 605239"/>
              <a:gd name="connsiteX586" fmla="*/ 373273 h 605239"/>
              <a:gd name="connsiteY586" fmla="*/ 373273 h 605239"/>
              <a:gd name="connsiteX587" fmla="*/ 373273 h 605239"/>
              <a:gd name="connsiteY587" fmla="*/ 373273 h 605239"/>
              <a:gd name="connsiteX588" fmla="*/ 373273 h 605239"/>
              <a:gd name="connsiteY588" fmla="*/ 373273 h 605239"/>
              <a:gd name="connsiteX589" fmla="*/ 373273 h 605239"/>
              <a:gd name="connsiteY589" fmla="*/ 373273 h 605239"/>
              <a:gd name="connsiteX590" fmla="*/ 373273 h 605239"/>
              <a:gd name="connsiteY590" fmla="*/ 373273 h 605239"/>
              <a:gd name="connsiteX591" fmla="*/ 373273 h 605239"/>
              <a:gd name="connsiteY591" fmla="*/ 373273 h 605239"/>
              <a:gd name="connsiteX592" fmla="*/ 373273 h 605239"/>
              <a:gd name="connsiteY592" fmla="*/ 373273 h 605239"/>
              <a:gd name="connsiteX593" fmla="*/ 373273 h 605239"/>
              <a:gd name="connsiteY593" fmla="*/ 373273 h 605239"/>
              <a:gd name="connsiteX594" fmla="*/ 373273 h 605239"/>
              <a:gd name="connsiteY594" fmla="*/ 373273 h 605239"/>
              <a:gd name="connsiteX595" fmla="*/ 373273 h 605239"/>
              <a:gd name="connsiteY595" fmla="*/ 373273 h 605239"/>
              <a:gd name="connsiteX596" fmla="*/ 373273 h 605239"/>
              <a:gd name="connsiteY596" fmla="*/ 373273 h 605239"/>
              <a:gd name="connsiteX597" fmla="*/ 373273 h 605239"/>
              <a:gd name="connsiteY597" fmla="*/ 373273 h 605239"/>
              <a:gd name="connsiteX598" fmla="*/ 373273 h 605239"/>
              <a:gd name="connsiteY598" fmla="*/ 373273 h 605239"/>
              <a:gd name="connsiteX599" fmla="*/ 373273 h 605239"/>
              <a:gd name="connsiteY599" fmla="*/ 373273 h 605239"/>
              <a:gd name="connsiteX600" fmla="*/ 373273 h 605239"/>
              <a:gd name="connsiteY600" fmla="*/ 373273 h 605239"/>
              <a:gd name="connsiteX601" fmla="*/ 373273 h 605239"/>
              <a:gd name="connsiteY601" fmla="*/ 373273 h 605239"/>
              <a:gd name="connsiteX602" fmla="*/ 373273 h 605239"/>
              <a:gd name="connsiteY602" fmla="*/ 373273 h 605239"/>
              <a:gd name="connsiteX603" fmla="*/ 373273 h 605239"/>
              <a:gd name="connsiteY603" fmla="*/ 373273 h 605239"/>
              <a:gd name="connsiteX604" fmla="*/ 373273 h 605239"/>
              <a:gd name="connsiteY604" fmla="*/ 373273 h 605239"/>
              <a:gd name="connsiteX605" fmla="*/ 373273 h 605239"/>
              <a:gd name="connsiteY605" fmla="*/ 373273 h 605239"/>
              <a:gd name="connsiteX606" fmla="*/ 373273 h 605239"/>
              <a:gd name="connsiteY606" fmla="*/ 373273 h 605239"/>
              <a:gd name="connsiteX607" fmla="*/ 373273 h 605239"/>
              <a:gd name="connsiteY607" fmla="*/ 373273 h 605239"/>
              <a:gd name="connsiteX608" fmla="*/ 373273 h 605239"/>
              <a:gd name="connsiteY608" fmla="*/ 373273 h 605239"/>
              <a:gd name="connsiteX609" fmla="*/ 373273 h 605239"/>
              <a:gd name="connsiteY609" fmla="*/ 373273 h 605239"/>
              <a:gd name="connsiteX610" fmla="*/ 373273 h 605239"/>
              <a:gd name="connsiteY610" fmla="*/ 373273 h 605239"/>
              <a:gd name="connsiteX611" fmla="*/ 373273 h 605239"/>
              <a:gd name="connsiteY611" fmla="*/ 373273 h 605239"/>
              <a:gd name="connsiteX612" fmla="*/ 373273 h 605239"/>
              <a:gd name="connsiteY612" fmla="*/ 373273 h 605239"/>
              <a:gd name="connsiteX613" fmla="*/ 373273 h 605239"/>
              <a:gd name="connsiteY613" fmla="*/ 373273 h 605239"/>
              <a:gd name="connsiteX614" fmla="*/ 373273 h 605239"/>
              <a:gd name="connsiteY614" fmla="*/ 373273 h 605239"/>
              <a:gd name="connsiteX615" fmla="*/ 373273 h 605239"/>
              <a:gd name="connsiteY615" fmla="*/ 373273 h 605239"/>
              <a:gd name="connsiteX616" fmla="*/ 373273 h 605239"/>
              <a:gd name="connsiteY616" fmla="*/ 373273 h 605239"/>
              <a:gd name="connsiteX617" fmla="*/ 373273 h 605239"/>
              <a:gd name="connsiteY617" fmla="*/ 373273 h 605239"/>
              <a:gd name="connsiteX618" fmla="*/ 373273 h 605239"/>
              <a:gd name="connsiteY618" fmla="*/ 373273 h 605239"/>
              <a:gd name="connsiteX619" fmla="*/ 373273 h 605239"/>
              <a:gd name="connsiteY619" fmla="*/ 373273 h 605239"/>
              <a:gd name="connsiteX620" fmla="*/ 373273 h 605239"/>
              <a:gd name="connsiteY620" fmla="*/ 373273 h 605239"/>
              <a:gd name="connsiteX621" fmla="*/ 373273 h 605239"/>
              <a:gd name="connsiteY621" fmla="*/ 373273 h 605239"/>
              <a:gd name="connsiteX622" fmla="*/ 373273 h 605239"/>
              <a:gd name="connsiteY622" fmla="*/ 373273 h 605239"/>
              <a:gd name="connsiteX623" fmla="*/ 373273 h 605239"/>
              <a:gd name="connsiteY623" fmla="*/ 373273 h 605239"/>
              <a:gd name="connsiteX624" fmla="*/ 373273 h 605239"/>
              <a:gd name="connsiteY624" fmla="*/ 373273 h 605239"/>
              <a:gd name="connsiteX625" fmla="*/ 373273 h 605239"/>
              <a:gd name="connsiteY625" fmla="*/ 373273 h 605239"/>
              <a:gd name="connsiteX626" fmla="*/ 373273 h 605239"/>
              <a:gd name="connsiteY626" fmla="*/ 373273 h 605239"/>
              <a:gd name="connsiteX627" fmla="*/ 373273 h 605239"/>
              <a:gd name="connsiteY627" fmla="*/ 373273 h 605239"/>
              <a:gd name="connsiteX628" fmla="*/ 373273 h 605239"/>
              <a:gd name="connsiteY628" fmla="*/ 373273 h 605239"/>
              <a:gd name="connsiteX629" fmla="*/ 373273 h 605239"/>
              <a:gd name="connsiteY629" fmla="*/ 373273 h 605239"/>
              <a:gd name="connsiteX630" fmla="*/ 373273 h 605239"/>
              <a:gd name="connsiteY630" fmla="*/ 373273 h 605239"/>
              <a:gd name="connsiteX631" fmla="*/ 373273 h 605239"/>
              <a:gd name="connsiteY631" fmla="*/ 373273 h 605239"/>
              <a:gd name="connsiteX632" fmla="*/ 373273 h 605239"/>
              <a:gd name="connsiteY632" fmla="*/ 373273 h 605239"/>
              <a:gd name="connsiteX633" fmla="*/ 373273 h 605239"/>
              <a:gd name="connsiteY633" fmla="*/ 373273 h 605239"/>
              <a:gd name="connsiteX634" fmla="*/ 373273 h 605239"/>
              <a:gd name="connsiteY634" fmla="*/ 373273 h 605239"/>
              <a:gd name="connsiteX635" fmla="*/ 373273 h 605239"/>
              <a:gd name="connsiteY635" fmla="*/ 373273 h 605239"/>
              <a:gd name="connsiteX636" fmla="*/ 373273 h 605239"/>
              <a:gd name="connsiteY636" fmla="*/ 373273 h 605239"/>
              <a:gd name="connsiteX637" fmla="*/ 373273 h 605239"/>
              <a:gd name="connsiteY637" fmla="*/ 373273 h 605239"/>
              <a:gd name="connsiteX638" fmla="*/ 373273 h 605239"/>
              <a:gd name="connsiteY638" fmla="*/ 373273 h 605239"/>
              <a:gd name="connsiteX639" fmla="*/ 373273 h 605239"/>
              <a:gd name="connsiteY639" fmla="*/ 373273 h 605239"/>
              <a:gd name="connsiteX640" fmla="*/ 373273 h 605239"/>
              <a:gd name="connsiteY640" fmla="*/ 373273 h 605239"/>
              <a:gd name="connsiteX641" fmla="*/ 373273 h 605239"/>
              <a:gd name="connsiteY641" fmla="*/ 373273 h 605239"/>
              <a:gd name="connsiteX642" fmla="*/ 373273 h 605239"/>
              <a:gd name="connsiteY642" fmla="*/ 373273 h 605239"/>
              <a:gd name="connsiteX643" fmla="*/ 373273 h 605239"/>
              <a:gd name="connsiteY643" fmla="*/ 373273 h 605239"/>
              <a:gd name="connsiteX644" fmla="*/ 373273 h 605239"/>
              <a:gd name="connsiteY644" fmla="*/ 373273 h 605239"/>
              <a:gd name="connsiteX645" fmla="*/ 373273 h 605239"/>
              <a:gd name="connsiteY645" fmla="*/ 373273 h 605239"/>
              <a:gd name="connsiteX646" fmla="*/ 373273 h 605239"/>
              <a:gd name="connsiteY646" fmla="*/ 373273 h 605239"/>
              <a:gd name="connsiteX647" fmla="*/ 373273 h 605239"/>
              <a:gd name="connsiteY647" fmla="*/ 373273 h 605239"/>
              <a:gd name="connsiteX648" fmla="*/ 373273 h 605239"/>
              <a:gd name="connsiteY648" fmla="*/ 373273 h 605239"/>
              <a:gd name="connsiteX649" fmla="*/ 373273 h 605239"/>
              <a:gd name="connsiteY649" fmla="*/ 373273 h 605239"/>
              <a:gd name="connsiteX650" fmla="*/ 373273 h 605239"/>
              <a:gd name="connsiteY650" fmla="*/ 373273 h 605239"/>
              <a:gd name="connsiteX651" fmla="*/ 373273 h 605239"/>
              <a:gd name="connsiteY651" fmla="*/ 373273 h 605239"/>
              <a:gd name="connsiteX652" fmla="*/ 373273 h 605239"/>
              <a:gd name="connsiteY652" fmla="*/ 373273 h 605239"/>
              <a:gd name="connsiteX653" fmla="*/ 373273 h 605239"/>
              <a:gd name="connsiteY653" fmla="*/ 373273 h 605239"/>
              <a:gd name="connsiteX654" fmla="*/ 373273 h 605239"/>
              <a:gd name="connsiteY654" fmla="*/ 373273 h 605239"/>
              <a:gd name="connsiteX655" fmla="*/ 373273 h 605239"/>
              <a:gd name="connsiteY655" fmla="*/ 373273 h 605239"/>
              <a:gd name="connsiteX656" fmla="*/ 373273 h 605239"/>
              <a:gd name="connsiteY656" fmla="*/ 373273 h 605239"/>
              <a:gd name="connsiteX657" fmla="*/ 373273 h 605239"/>
              <a:gd name="connsiteY657" fmla="*/ 373273 h 605239"/>
              <a:gd name="connsiteX658" fmla="*/ 373273 h 605239"/>
              <a:gd name="connsiteY658" fmla="*/ 373273 h 605239"/>
              <a:gd name="connsiteX659" fmla="*/ 373273 h 605239"/>
              <a:gd name="connsiteY659" fmla="*/ 373273 h 605239"/>
              <a:gd name="connsiteX660" fmla="*/ 373273 h 605239"/>
              <a:gd name="connsiteY660" fmla="*/ 373273 h 605239"/>
              <a:gd name="connsiteX661" fmla="*/ 373273 h 605239"/>
              <a:gd name="connsiteY661" fmla="*/ 373273 h 605239"/>
              <a:gd name="connsiteX662" fmla="*/ 373273 h 605239"/>
              <a:gd name="connsiteY662" fmla="*/ 373273 h 605239"/>
              <a:gd name="connsiteX663" fmla="*/ 373273 h 605239"/>
              <a:gd name="connsiteY663" fmla="*/ 373273 h 605239"/>
              <a:gd name="connsiteX664" fmla="*/ 373273 h 605239"/>
              <a:gd name="connsiteY664" fmla="*/ 373273 h 605239"/>
              <a:gd name="connsiteX665" fmla="*/ 373273 h 605239"/>
              <a:gd name="connsiteY665" fmla="*/ 373273 h 605239"/>
              <a:gd name="connsiteX666" fmla="*/ 373273 h 605239"/>
              <a:gd name="connsiteY666" fmla="*/ 373273 h 605239"/>
              <a:gd name="connsiteX667" fmla="*/ 373273 h 605239"/>
              <a:gd name="connsiteY667" fmla="*/ 373273 h 605239"/>
              <a:gd name="connsiteX668" fmla="*/ 373273 h 605239"/>
              <a:gd name="connsiteY668" fmla="*/ 373273 h 605239"/>
              <a:gd name="connsiteX669" fmla="*/ 373273 h 605239"/>
              <a:gd name="connsiteY669" fmla="*/ 373273 h 605239"/>
              <a:gd name="connsiteX670" fmla="*/ 373273 h 605239"/>
              <a:gd name="connsiteY670" fmla="*/ 373273 h 605239"/>
              <a:gd name="connsiteX671" fmla="*/ 373273 h 605239"/>
              <a:gd name="connsiteY671" fmla="*/ 373273 h 605239"/>
              <a:gd name="connsiteX672" fmla="*/ 373273 h 605239"/>
              <a:gd name="connsiteY672" fmla="*/ 373273 h 605239"/>
              <a:gd name="connsiteX673" fmla="*/ 373273 h 605239"/>
              <a:gd name="connsiteY673" fmla="*/ 373273 h 605239"/>
              <a:gd name="connsiteX674" fmla="*/ 373273 h 605239"/>
              <a:gd name="connsiteY674" fmla="*/ 373273 h 605239"/>
              <a:gd name="connsiteX675" fmla="*/ 373273 h 605239"/>
              <a:gd name="connsiteY675" fmla="*/ 373273 h 605239"/>
              <a:gd name="connsiteX676" fmla="*/ 373273 h 605239"/>
              <a:gd name="connsiteY676" fmla="*/ 373273 h 605239"/>
              <a:gd name="connsiteX677" fmla="*/ 373273 h 605239"/>
              <a:gd name="connsiteY677" fmla="*/ 373273 h 605239"/>
              <a:gd name="connsiteX678" fmla="*/ 373273 h 605239"/>
              <a:gd name="connsiteY678" fmla="*/ 373273 h 605239"/>
              <a:gd name="connsiteX679" fmla="*/ 373273 h 605239"/>
              <a:gd name="connsiteY679" fmla="*/ 373273 h 605239"/>
              <a:gd name="connsiteX680" fmla="*/ 373273 h 605239"/>
              <a:gd name="connsiteY680" fmla="*/ 373273 h 605239"/>
              <a:gd name="connsiteX681" fmla="*/ 373273 h 605239"/>
              <a:gd name="connsiteY681" fmla="*/ 373273 h 605239"/>
              <a:gd name="connsiteX682" fmla="*/ 373273 h 605239"/>
              <a:gd name="connsiteY682" fmla="*/ 373273 h 605239"/>
              <a:gd name="connsiteX683" fmla="*/ 373273 h 605239"/>
              <a:gd name="connsiteY683" fmla="*/ 373273 h 605239"/>
              <a:gd name="connsiteX684" fmla="*/ 373273 h 605239"/>
              <a:gd name="connsiteY684" fmla="*/ 373273 h 605239"/>
              <a:gd name="connsiteX685" fmla="*/ 373273 h 605239"/>
              <a:gd name="connsiteY685" fmla="*/ 373273 h 605239"/>
              <a:gd name="connsiteX686" fmla="*/ 373273 h 605239"/>
              <a:gd name="connsiteY686" fmla="*/ 373273 h 605239"/>
              <a:gd name="connsiteX687" fmla="*/ 373273 h 605239"/>
              <a:gd name="connsiteY687" fmla="*/ 373273 h 605239"/>
              <a:gd name="connsiteX688" fmla="*/ 373273 h 605239"/>
              <a:gd name="connsiteY688" fmla="*/ 373273 h 605239"/>
              <a:gd name="connsiteX689" fmla="*/ 373273 h 605239"/>
              <a:gd name="connsiteY689" fmla="*/ 373273 h 605239"/>
              <a:gd name="connsiteX690" fmla="*/ 373273 h 605239"/>
              <a:gd name="connsiteY690" fmla="*/ 373273 h 605239"/>
              <a:gd name="connsiteX691" fmla="*/ 373273 h 605239"/>
              <a:gd name="connsiteY691" fmla="*/ 373273 h 605239"/>
              <a:gd name="connsiteX692" fmla="*/ 373273 h 605239"/>
              <a:gd name="connsiteY692" fmla="*/ 373273 h 605239"/>
              <a:gd name="connsiteX693" fmla="*/ 373273 h 605239"/>
              <a:gd name="connsiteY693" fmla="*/ 373273 h 605239"/>
              <a:gd name="connsiteX694" fmla="*/ 373273 h 605239"/>
              <a:gd name="connsiteY694" fmla="*/ 373273 h 605239"/>
              <a:gd name="connsiteX695" fmla="*/ 373273 h 605239"/>
              <a:gd name="connsiteY695" fmla="*/ 373273 h 605239"/>
              <a:gd name="connsiteX696" fmla="*/ 373273 h 605239"/>
              <a:gd name="connsiteY696" fmla="*/ 373273 h 605239"/>
              <a:gd name="connsiteX697" fmla="*/ 373273 h 605239"/>
              <a:gd name="connsiteY697" fmla="*/ 373273 h 605239"/>
              <a:gd name="connsiteX698" fmla="*/ 373273 h 605239"/>
              <a:gd name="connsiteY698" fmla="*/ 373273 h 605239"/>
              <a:gd name="connsiteX699" fmla="*/ 373273 h 605239"/>
              <a:gd name="connsiteY699" fmla="*/ 373273 h 605239"/>
              <a:gd name="connsiteX700" fmla="*/ 373273 h 605239"/>
              <a:gd name="connsiteY700" fmla="*/ 373273 h 605239"/>
              <a:gd name="connsiteX701" fmla="*/ 373273 h 605239"/>
              <a:gd name="connsiteY701" fmla="*/ 373273 h 605239"/>
              <a:gd name="connsiteX702" fmla="*/ 373273 h 605239"/>
              <a:gd name="connsiteY702" fmla="*/ 373273 h 605239"/>
              <a:gd name="connsiteX703" fmla="*/ 373273 h 605239"/>
              <a:gd name="connsiteY703" fmla="*/ 373273 h 605239"/>
              <a:gd name="connsiteX704" fmla="*/ 373273 h 605239"/>
              <a:gd name="connsiteY704" fmla="*/ 373273 h 605239"/>
              <a:gd name="connsiteX705" fmla="*/ 373273 h 605239"/>
              <a:gd name="connsiteY705" fmla="*/ 373273 h 605239"/>
              <a:gd name="connsiteX706" fmla="*/ 373273 h 605239"/>
              <a:gd name="connsiteY706" fmla="*/ 373273 h 605239"/>
              <a:gd name="connsiteX707" fmla="*/ 373273 h 605239"/>
              <a:gd name="connsiteY707" fmla="*/ 373273 h 605239"/>
              <a:gd name="connsiteX708" fmla="*/ 373273 h 605239"/>
              <a:gd name="connsiteY708" fmla="*/ 373273 h 605239"/>
              <a:gd name="connsiteX709" fmla="*/ 373273 h 605239"/>
              <a:gd name="connsiteY709" fmla="*/ 373273 h 605239"/>
              <a:gd name="connsiteX710" fmla="*/ 373273 h 605239"/>
              <a:gd name="connsiteY710" fmla="*/ 373273 h 605239"/>
              <a:gd name="connsiteX711" fmla="*/ 373273 h 605239"/>
              <a:gd name="connsiteY711" fmla="*/ 373273 h 605239"/>
              <a:gd name="connsiteX712" fmla="*/ 373273 h 605239"/>
              <a:gd name="connsiteY712" fmla="*/ 373273 h 605239"/>
              <a:gd name="connsiteX713" fmla="*/ 373273 h 605239"/>
              <a:gd name="connsiteY713" fmla="*/ 373273 h 605239"/>
              <a:gd name="connsiteX714" fmla="*/ 373273 h 605239"/>
              <a:gd name="connsiteY714" fmla="*/ 373273 h 605239"/>
              <a:gd name="connsiteX715" fmla="*/ 373273 h 605239"/>
              <a:gd name="connsiteY715" fmla="*/ 373273 h 605239"/>
              <a:gd name="connsiteX716" fmla="*/ 373273 h 605239"/>
              <a:gd name="connsiteY716" fmla="*/ 373273 h 605239"/>
              <a:gd name="connsiteX717" fmla="*/ 373273 h 605239"/>
              <a:gd name="connsiteY717" fmla="*/ 373273 h 605239"/>
              <a:gd name="connsiteX718" fmla="*/ 373273 h 605239"/>
              <a:gd name="connsiteY718" fmla="*/ 373273 h 605239"/>
              <a:gd name="connsiteX719" fmla="*/ 373273 h 605239"/>
              <a:gd name="connsiteY719" fmla="*/ 373273 h 605239"/>
              <a:gd name="connsiteX720" fmla="*/ 373273 h 605239"/>
              <a:gd name="connsiteY720" fmla="*/ 373273 h 605239"/>
              <a:gd name="connsiteX721" fmla="*/ 373273 h 605239"/>
              <a:gd name="connsiteY721" fmla="*/ 373273 h 605239"/>
              <a:gd name="connsiteX722" fmla="*/ 373273 h 605239"/>
              <a:gd name="connsiteY722" fmla="*/ 373273 h 605239"/>
              <a:gd name="connsiteX723" fmla="*/ 373273 h 605239"/>
              <a:gd name="connsiteY723" fmla="*/ 373273 h 605239"/>
              <a:gd name="connsiteX724" fmla="*/ 373273 h 605239"/>
              <a:gd name="connsiteY724" fmla="*/ 373273 h 605239"/>
              <a:gd name="connsiteX725" fmla="*/ 373273 h 605239"/>
              <a:gd name="connsiteY725" fmla="*/ 373273 h 605239"/>
              <a:gd name="connsiteX726" fmla="*/ 373273 h 605239"/>
              <a:gd name="connsiteY726" fmla="*/ 373273 h 605239"/>
              <a:gd name="connsiteX727" fmla="*/ 373273 h 605239"/>
              <a:gd name="connsiteY727" fmla="*/ 373273 h 605239"/>
              <a:gd name="connsiteX728" fmla="*/ 373273 h 605239"/>
              <a:gd name="connsiteY728" fmla="*/ 373273 h 605239"/>
              <a:gd name="connsiteX729" fmla="*/ 373273 h 605239"/>
              <a:gd name="connsiteY729" fmla="*/ 373273 h 605239"/>
              <a:gd name="connsiteX730" fmla="*/ 373273 h 605239"/>
              <a:gd name="connsiteY730" fmla="*/ 373273 h 605239"/>
              <a:gd name="connsiteX731" fmla="*/ 373273 h 605239"/>
              <a:gd name="connsiteY731" fmla="*/ 373273 h 605239"/>
              <a:gd name="connsiteX732" fmla="*/ 373273 h 605239"/>
              <a:gd name="connsiteY732" fmla="*/ 373273 h 605239"/>
              <a:gd name="connsiteX733" fmla="*/ 373273 h 605239"/>
              <a:gd name="connsiteY733" fmla="*/ 373273 h 605239"/>
              <a:gd name="connsiteX734" fmla="*/ 373273 h 605239"/>
              <a:gd name="connsiteY734" fmla="*/ 373273 h 605239"/>
              <a:gd name="connsiteX735" fmla="*/ 373273 h 605239"/>
              <a:gd name="connsiteY735" fmla="*/ 373273 h 605239"/>
              <a:gd name="connsiteX736" fmla="*/ 373273 h 605239"/>
              <a:gd name="connsiteY736" fmla="*/ 373273 h 605239"/>
              <a:gd name="connsiteX737" fmla="*/ 373273 h 605239"/>
              <a:gd name="connsiteY737" fmla="*/ 373273 h 605239"/>
              <a:gd name="connsiteX738" fmla="*/ 373273 h 605239"/>
              <a:gd name="connsiteY738" fmla="*/ 373273 h 605239"/>
              <a:gd name="connsiteX739" fmla="*/ 373273 h 605239"/>
              <a:gd name="connsiteY739" fmla="*/ 373273 h 605239"/>
              <a:gd name="connsiteX740" fmla="*/ 373273 h 605239"/>
              <a:gd name="connsiteY740" fmla="*/ 373273 h 605239"/>
              <a:gd name="connsiteX741" fmla="*/ 373273 h 605239"/>
              <a:gd name="connsiteY741" fmla="*/ 373273 h 605239"/>
              <a:gd name="connsiteX742" fmla="*/ 373273 h 605239"/>
              <a:gd name="connsiteY742" fmla="*/ 373273 h 605239"/>
              <a:gd name="connsiteX743" fmla="*/ 373273 h 605239"/>
              <a:gd name="connsiteY743" fmla="*/ 373273 h 605239"/>
              <a:gd name="connsiteX744" fmla="*/ 373273 h 605239"/>
              <a:gd name="connsiteY744" fmla="*/ 373273 h 605239"/>
              <a:gd name="connsiteX745" fmla="*/ 373273 h 605239"/>
              <a:gd name="connsiteY745" fmla="*/ 373273 h 605239"/>
              <a:gd name="connsiteX746" fmla="*/ 373273 h 605239"/>
              <a:gd name="connsiteY746" fmla="*/ 373273 h 605239"/>
              <a:gd name="connsiteX747" fmla="*/ 373273 h 605239"/>
              <a:gd name="connsiteY747" fmla="*/ 373273 h 605239"/>
              <a:gd name="connsiteX748" fmla="*/ 373273 h 605239"/>
              <a:gd name="connsiteY748" fmla="*/ 373273 h 605239"/>
              <a:gd name="connsiteX749" fmla="*/ 373273 h 605239"/>
              <a:gd name="connsiteY749" fmla="*/ 373273 h 605239"/>
              <a:gd name="connsiteX750" fmla="*/ 373273 h 605239"/>
              <a:gd name="connsiteY750" fmla="*/ 373273 h 605239"/>
              <a:gd name="connsiteX751" fmla="*/ 373273 h 605239"/>
              <a:gd name="connsiteY751" fmla="*/ 373273 h 605239"/>
              <a:gd name="connsiteX752" fmla="*/ 373273 h 605239"/>
              <a:gd name="connsiteY752" fmla="*/ 373273 h 605239"/>
              <a:gd name="connsiteX753" fmla="*/ 373273 h 605239"/>
              <a:gd name="connsiteY753" fmla="*/ 373273 h 605239"/>
              <a:gd name="connsiteX754" fmla="*/ 373273 h 605239"/>
              <a:gd name="connsiteY754" fmla="*/ 373273 h 605239"/>
              <a:gd name="connsiteX755" fmla="*/ 373273 h 605239"/>
              <a:gd name="connsiteY755" fmla="*/ 373273 h 605239"/>
              <a:gd name="connsiteX756" fmla="*/ 373273 h 605239"/>
              <a:gd name="connsiteY756" fmla="*/ 373273 h 605239"/>
              <a:gd name="connsiteX757" fmla="*/ 373273 h 605239"/>
              <a:gd name="connsiteY757" fmla="*/ 373273 h 605239"/>
              <a:gd name="connsiteX758" fmla="*/ 373273 h 605239"/>
              <a:gd name="connsiteY758" fmla="*/ 373273 h 605239"/>
              <a:gd name="connsiteX759" fmla="*/ 373273 h 605239"/>
              <a:gd name="connsiteY759" fmla="*/ 373273 h 605239"/>
              <a:gd name="connsiteX760" fmla="*/ 373273 h 605239"/>
              <a:gd name="connsiteY760" fmla="*/ 373273 h 605239"/>
              <a:gd name="connsiteX761" fmla="*/ 373273 h 605239"/>
              <a:gd name="connsiteY761" fmla="*/ 373273 h 605239"/>
              <a:gd name="connsiteX762" fmla="*/ 373273 h 605239"/>
              <a:gd name="connsiteY762" fmla="*/ 373273 h 605239"/>
              <a:gd name="connsiteX763" fmla="*/ 373273 h 605239"/>
              <a:gd name="connsiteY763" fmla="*/ 373273 h 605239"/>
              <a:gd name="connsiteX764" fmla="*/ 373273 h 605239"/>
              <a:gd name="connsiteY764" fmla="*/ 373273 h 605239"/>
              <a:gd name="connsiteX765" fmla="*/ 373273 h 605239"/>
              <a:gd name="connsiteY765" fmla="*/ 373273 h 605239"/>
              <a:gd name="connsiteX766" fmla="*/ 373273 h 605239"/>
              <a:gd name="connsiteY766" fmla="*/ 373273 h 605239"/>
              <a:gd name="connsiteX767" fmla="*/ 373273 h 605239"/>
              <a:gd name="connsiteY767" fmla="*/ 373273 h 605239"/>
              <a:gd name="connsiteX768" fmla="*/ 373273 h 605239"/>
              <a:gd name="connsiteY768" fmla="*/ 373273 h 605239"/>
              <a:gd name="connsiteX769" fmla="*/ 373273 h 605239"/>
              <a:gd name="connsiteY769" fmla="*/ 373273 h 605239"/>
              <a:gd name="connsiteX770" fmla="*/ 373273 h 605239"/>
              <a:gd name="connsiteY770" fmla="*/ 373273 h 605239"/>
              <a:gd name="connsiteX771" fmla="*/ 373273 h 605239"/>
              <a:gd name="connsiteY771" fmla="*/ 373273 h 605239"/>
              <a:gd name="connsiteX772" fmla="*/ 373273 h 605239"/>
              <a:gd name="connsiteY772" fmla="*/ 373273 h 605239"/>
              <a:gd name="connsiteX773" fmla="*/ 373273 h 605239"/>
              <a:gd name="connsiteY773" fmla="*/ 373273 h 605239"/>
              <a:gd name="connsiteX774" fmla="*/ 373273 h 605239"/>
              <a:gd name="connsiteY774" fmla="*/ 373273 h 605239"/>
              <a:gd name="connsiteX775" fmla="*/ 373273 h 605239"/>
              <a:gd name="connsiteY775" fmla="*/ 373273 h 605239"/>
              <a:gd name="connsiteX776" fmla="*/ 373273 h 605239"/>
              <a:gd name="connsiteY776" fmla="*/ 373273 h 605239"/>
              <a:gd name="connsiteX777" fmla="*/ 373273 h 605239"/>
              <a:gd name="connsiteY777" fmla="*/ 373273 h 605239"/>
              <a:gd name="connsiteX778" fmla="*/ 373273 h 605239"/>
              <a:gd name="connsiteY778" fmla="*/ 373273 h 605239"/>
              <a:gd name="connsiteX779" fmla="*/ 373273 h 605239"/>
              <a:gd name="connsiteY779" fmla="*/ 373273 h 605239"/>
              <a:gd name="connsiteX780" fmla="*/ 373273 h 605239"/>
              <a:gd name="connsiteY780" fmla="*/ 373273 h 605239"/>
              <a:gd name="connsiteX781" fmla="*/ 373273 h 605239"/>
              <a:gd name="connsiteY781" fmla="*/ 373273 h 605239"/>
              <a:gd name="connsiteX782" fmla="*/ 373273 h 605239"/>
              <a:gd name="connsiteY782" fmla="*/ 373273 h 605239"/>
              <a:gd name="connsiteX783" fmla="*/ 373273 h 605239"/>
              <a:gd name="connsiteY783" fmla="*/ 373273 h 605239"/>
              <a:gd name="connsiteX784" fmla="*/ 373273 h 605239"/>
              <a:gd name="connsiteY784" fmla="*/ 373273 h 605239"/>
              <a:gd name="connsiteX785" fmla="*/ 373273 h 605239"/>
              <a:gd name="connsiteY785" fmla="*/ 373273 h 605239"/>
              <a:gd name="connsiteX786" fmla="*/ 373273 h 605239"/>
              <a:gd name="connsiteY786" fmla="*/ 373273 h 605239"/>
              <a:gd name="connsiteX787" fmla="*/ 373273 h 605239"/>
              <a:gd name="connsiteY787" fmla="*/ 373273 h 605239"/>
              <a:gd name="connsiteX788" fmla="*/ 373273 h 605239"/>
              <a:gd name="connsiteY788" fmla="*/ 373273 h 605239"/>
              <a:gd name="connsiteX789" fmla="*/ 373273 h 605239"/>
              <a:gd name="connsiteY789" fmla="*/ 373273 h 605239"/>
              <a:gd name="connsiteX790" fmla="*/ 373273 h 605239"/>
              <a:gd name="connsiteY790" fmla="*/ 373273 h 605239"/>
              <a:gd name="connsiteX791" fmla="*/ 373273 h 605239"/>
              <a:gd name="connsiteY791" fmla="*/ 373273 h 605239"/>
              <a:gd name="connsiteX792" fmla="*/ 373273 h 605239"/>
              <a:gd name="connsiteY792" fmla="*/ 373273 h 605239"/>
              <a:gd name="connsiteX793" fmla="*/ 373273 h 605239"/>
              <a:gd name="connsiteY793" fmla="*/ 373273 h 605239"/>
              <a:gd name="connsiteX794" fmla="*/ 373273 h 605239"/>
              <a:gd name="connsiteY794" fmla="*/ 373273 h 605239"/>
              <a:gd name="connsiteX795" fmla="*/ 373273 h 605239"/>
              <a:gd name="connsiteY795" fmla="*/ 373273 h 605239"/>
              <a:gd name="connsiteX796" fmla="*/ 373273 h 605239"/>
              <a:gd name="connsiteY796" fmla="*/ 373273 h 605239"/>
              <a:gd name="connsiteX797" fmla="*/ 373273 h 605239"/>
              <a:gd name="connsiteY797" fmla="*/ 373273 h 605239"/>
              <a:gd name="connsiteX798" fmla="*/ 373273 h 605239"/>
              <a:gd name="connsiteY798" fmla="*/ 373273 h 605239"/>
              <a:gd name="connsiteX799" fmla="*/ 373273 h 605239"/>
              <a:gd name="connsiteY799" fmla="*/ 373273 h 605239"/>
              <a:gd name="connsiteX800" fmla="*/ 373273 h 605239"/>
              <a:gd name="connsiteY800" fmla="*/ 373273 h 605239"/>
              <a:gd name="connsiteX801" fmla="*/ 373273 h 605239"/>
              <a:gd name="connsiteY801" fmla="*/ 373273 h 605239"/>
              <a:gd name="connsiteX802" fmla="*/ 373273 h 605239"/>
              <a:gd name="connsiteY802" fmla="*/ 373273 h 605239"/>
              <a:gd name="connsiteX803" fmla="*/ 373273 h 605239"/>
              <a:gd name="connsiteY803" fmla="*/ 373273 h 605239"/>
              <a:gd name="connsiteX804" fmla="*/ 373273 h 605239"/>
              <a:gd name="connsiteY804" fmla="*/ 373273 h 605239"/>
              <a:gd name="connsiteX805" fmla="*/ 373273 h 605239"/>
              <a:gd name="connsiteY805" fmla="*/ 373273 h 605239"/>
              <a:gd name="connsiteX806" fmla="*/ 373273 h 605239"/>
              <a:gd name="connsiteY806" fmla="*/ 373273 h 605239"/>
              <a:gd name="connsiteX807" fmla="*/ 373273 h 605239"/>
              <a:gd name="connsiteY807" fmla="*/ 373273 h 605239"/>
              <a:gd name="connsiteX808" fmla="*/ 373273 h 605239"/>
              <a:gd name="connsiteY808" fmla="*/ 373273 h 605239"/>
              <a:gd name="connsiteX809" fmla="*/ 373273 h 605239"/>
              <a:gd name="connsiteY809" fmla="*/ 373273 h 605239"/>
              <a:gd name="connsiteX810" fmla="*/ 373273 h 605239"/>
              <a:gd name="connsiteY810" fmla="*/ 373273 h 605239"/>
              <a:gd name="connsiteX811" fmla="*/ 373273 h 605239"/>
              <a:gd name="connsiteY811" fmla="*/ 373273 h 605239"/>
              <a:gd name="connsiteX812" fmla="*/ 373273 h 605239"/>
              <a:gd name="connsiteY812" fmla="*/ 373273 h 605239"/>
              <a:gd name="connsiteX813" fmla="*/ 373273 h 605239"/>
              <a:gd name="connsiteY813" fmla="*/ 373273 h 605239"/>
              <a:gd name="connsiteX814" fmla="*/ 373273 h 605239"/>
              <a:gd name="connsiteY814" fmla="*/ 373273 h 605239"/>
              <a:gd name="connsiteX815" fmla="*/ 373273 h 605239"/>
              <a:gd name="connsiteY815" fmla="*/ 373273 h 605239"/>
              <a:gd name="connsiteX816" fmla="*/ 373273 h 605239"/>
              <a:gd name="connsiteY816" fmla="*/ 373273 h 605239"/>
              <a:gd name="connsiteX817" fmla="*/ 373273 h 605239"/>
              <a:gd name="connsiteY817" fmla="*/ 373273 h 605239"/>
              <a:gd name="connsiteX818" fmla="*/ 373273 h 605239"/>
              <a:gd name="connsiteY818" fmla="*/ 373273 h 605239"/>
              <a:gd name="connsiteX819" fmla="*/ 373273 h 605239"/>
              <a:gd name="connsiteY819" fmla="*/ 373273 h 605239"/>
              <a:gd name="connsiteX820" fmla="*/ 373273 h 605239"/>
              <a:gd name="connsiteY820" fmla="*/ 373273 h 605239"/>
              <a:gd name="connsiteX821" fmla="*/ 373273 h 605239"/>
              <a:gd name="connsiteY821" fmla="*/ 373273 h 605239"/>
              <a:gd name="connsiteX822" fmla="*/ 373273 h 605239"/>
              <a:gd name="connsiteY822" fmla="*/ 373273 h 605239"/>
              <a:gd name="connsiteX823" fmla="*/ 373273 h 605239"/>
              <a:gd name="connsiteY823" fmla="*/ 373273 h 605239"/>
              <a:gd name="connsiteX824" fmla="*/ 373273 h 605239"/>
              <a:gd name="connsiteY824" fmla="*/ 373273 h 605239"/>
              <a:gd name="connsiteX825" fmla="*/ 373273 h 605239"/>
              <a:gd name="connsiteY825" fmla="*/ 373273 h 605239"/>
              <a:gd name="connsiteX826" fmla="*/ 373273 h 605239"/>
              <a:gd name="connsiteY826" fmla="*/ 373273 h 605239"/>
              <a:gd name="connsiteX827" fmla="*/ 373273 h 605239"/>
              <a:gd name="connsiteY827" fmla="*/ 373273 h 605239"/>
              <a:gd name="connsiteX828" fmla="*/ 373273 h 605239"/>
              <a:gd name="connsiteY828" fmla="*/ 373273 h 605239"/>
              <a:gd name="connsiteX829" fmla="*/ 373273 h 605239"/>
              <a:gd name="connsiteY829" fmla="*/ 373273 h 605239"/>
              <a:gd name="connsiteX830" fmla="*/ 373273 h 605239"/>
              <a:gd name="connsiteY830" fmla="*/ 373273 h 605239"/>
              <a:gd name="connsiteX831" fmla="*/ 373273 h 605239"/>
              <a:gd name="connsiteY831" fmla="*/ 373273 h 605239"/>
              <a:gd name="connsiteX832" fmla="*/ 373273 h 605239"/>
              <a:gd name="connsiteY832" fmla="*/ 373273 h 605239"/>
              <a:gd name="connsiteX833" fmla="*/ 373273 h 605239"/>
              <a:gd name="connsiteY833" fmla="*/ 373273 h 605239"/>
              <a:gd name="connsiteX834" fmla="*/ 373273 h 605239"/>
              <a:gd name="connsiteY834" fmla="*/ 373273 h 605239"/>
              <a:gd name="connsiteX835" fmla="*/ 373273 h 605239"/>
              <a:gd name="connsiteY835" fmla="*/ 373273 h 605239"/>
              <a:gd name="connsiteX836" fmla="*/ 373273 h 605239"/>
              <a:gd name="connsiteY836" fmla="*/ 373273 h 605239"/>
              <a:gd name="connsiteX837" fmla="*/ 373273 h 605239"/>
              <a:gd name="connsiteY837" fmla="*/ 373273 h 605239"/>
              <a:gd name="connsiteX838" fmla="*/ 373273 h 605239"/>
              <a:gd name="connsiteY838" fmla="*/ 373273 h 605239"/>
              <a:gd name="connsiteX839" fmla="*/ 373273 h 605239"/>
              <a:gd name="connsiteY839" fmla="*/ 373273 h 605239"/>
              <a:gd name="connsiteX840" fmla="*/ 373273 h 605239"/>
              <a:gd name="connsiteY840" fmla="*/ 373273 h 605239"/>
              <a:gd name="connsiteX841" fmla="*/ 373273 h 605239"/>
              <a:gd name="connsiteY841" fmla="*/ 373273 h 605239"/>
              <a:gd name="connsiteX842" fmla="*/ 373273 h 605239"/>
              <a:gd name="connsiteY842" fmla="*/ 373273 h 605239"/>
              <a:gd name="connsiteX843" fmla="*/ 373273 h 605239"/>
              <a:gd name="connsiteY843" fmla="*/ 373273 h 605239"/>
              <a:gd name="connsiteX844" fmla="*/ 373273 h 605239"/>
              <a:gd name="connsiteY844" fmla="*/ 373273 h 605239"/>
              <a:gd name="connsiteX845" fmla="*/ 373273 h 605239"/>
              <a:gd name="connsiteY845" fmla="*/ 373273 h 605239"/>
              <a:gd name="connsiteX846" fmla="*/ 373273 h 605239"/>
              <a:gd name="connsiteY846" fmla="*/ 373273 h 605239"/>
              <a:gd name="connsiteX847" fmla="*/ 373273 h 605239"/>
              <a:gd name="connsiteY847" fmla="*/ 373273 h 605239"/>
              <a:gd name="connsiteX848" fmla="*/ 373273 h 605239"/>
              <a:gd name="connsiteY848" fmla="*/ 373273 h 605239"/>
              <a:gd name="connsiteX849" fmla="*/ 373273 h 605239"/>
              <a:gd name="connsiteY849" fmla="*/ 373273 h 605239"/>
              <a:gd name="connsiteX850" fmla="*/ 373273 h 605239"/>
              <a:gd name="connsiteY850" fmla="*/ 373273 h 605239"/>
              <a:gd name="connsiteX851" fmla="*/ 373273 h 605239"/>
              <a:gd name="connsiteY851" fmla="*/ 373273 h 605239"/>
              <a:gd name="connsiteX852" fmla="*/ 373273 h 605239"/>
              <a:gd name="connsiteY852" fmla="*/ 373273 h 605239"/>
              <a:gd name="connsiteX853" fmla="*/ 373273 h 605239"/>
              <a:gd name="connsiteY853" fmla="*/ 373273 h 605239"/>
              <a:gd name="connsiteX854" fmla="*/ 373273 h 605239"/>
              <a:gd name="connsiteY854" fmla="*/ 373273 h 605239"/>
              <a:gd name="connsiteX855" fmla="*/ 373273 h 605239"/>
              <a:gd name="connsiteY855" fmla="*/ 373273 h 605239"/>
              <a:gd name="connsiteX856" fmla="*/ 373273 h 605239"/>
              <a:gd name="connsiteY856" fmla="*/ 373273 h 605239"/>
              <a:gd name="connsiteX857" fmla="*/ 373273 h 605239"/>
              <a:gd name="connsiteY857" fmla="*/ 373273 h 605239"/>
              <a:gd name="connsiteX858" fmla="*/ 373273 h 605239"/>
              <a:gd name="connsiteY858" fmla="*/ 373273 h 605239"/>
              <a:gd name="connsiteX859" fmla="*/ 373273 h 605239"/>
              <a:gd name="connsiteY859" fmla="*/ 373273 h 605239"/>
              <a:gd name="connsiteX860" fmla="*/ 373273 h 605239"/>
              <a:gd name="connsiteY860" fmla="*/ 373273 h 605239"/>
              <a:gd name="connsiteX861" fmla="*/ 373273 h 605239"/>
              <a:gd name="connsiteY861" fmla="*/ 373273 h 605239"/>
              <a:gd name="connsiteX862" fmla="*/ 373273 h 605239"/>
              <a:gd name="connsiteY862" fmla="*/ 373273 h 605239"/>
              <a:gd name="connsiteX863" fmla="*/ 373273 h 605239"/>
              <a:gd name="connsiteY863" fmla="*/ 373273 h 605239"/>
              <a:gd name="connsiteX864" fmla="*/ 373273 h 605239"/>
              <a:gd name="connsiteY864" fmla="*/ 373273 h 605239"/>
              <a:gd name="connsiteX865" fmla="*/ 373273 h 605239"/>
              <a:gd name="connsiteY865" fmla="*/ 373273 h 605239"/>
              <a:gd name="connsiteX866" fmla="*/ 373273 h 605239"/>
              <a:gd name="connsiteY866" fmla="*/ 373273 h 605239"/>
              <a:gd name="connsiteX867" fmla="*/ 373273 h 605239"/>
              <a:gd name="connsiteY867" fmla="*/ 373273 h 605239"/>
              <a:gd name="connsiteX868" fmla="*/ 373273 h 605239"/>
              <a:gd name="connsiteY868" fmla="*/ 373273 h 605239"/>
              <a:gd name="connsiteX869" fmla="*/ 373273 h 605239"/>
              <a:gd name="connsiteY869" fmla="*/ 373273 h 605239"/>
              <a:gd name="connsiteX870" fmla="*/ 373273 h 605239"/>
              <a:gd name="connsiteY870" fmla="*/ 373273 h 605239"/>
              <a:gd name="connsiteX871" fmla="*/ 373273 h 605239"/>
              <a:gd name="connsiteY871" fmla="*/ 373273 h 605239"/>
              <a:gd name="connsiteX872" fmla="*/ 373273 h 605239"/>
              <a:gd name="connsiteY872" fmla="*/ 373273 h 605239"/>
              <a:gd name="connsiteX873" fmla="*/ 373273 h 605239"/>
              <a:gd name="connsiteY873" fmla="*/ 373273 h 605239"/>
              <a:gd name="connsiteX874" fmla="*/ 373273 h 605239"/>
              <a:gd name="connsiteY874" fmla="*/ 373273 h 605239"/>
              <a:gd name="connsiteX875" fmla="*/ 373273 h 605239"/>
              <a:gd name="connsiteY875" fmla="*/ 373273 h 605239"/>
              <a:gd name="connsiteX876" fmla="*/ 373273 h 605239"/>
              <a:gd name="connsiteY876" fmla="*/ 373273 h 605239"/>
              <a:gd name="connsiteX877" fmla="*/ 373273 h 605239"/>
              <a:gd name="connsiteY877" fmla="*/ 373273 h 605239"/>
              <a:gd name="connsiteX878" fmla="*/ 373273 h 605239"/>
              <a:gd name="connsiteY878" fmla="*/ 373273 h 605239"/>
              <a:gd name="connsiteX879" fmla="*/ 373273 h 605239"/>
              <a:gd name="connsiteY879" fmla="*/ 373273 h 605239"/>
              <a:gd name="connsiteX880" fmla="*/ 373273 h 605239"/>
              <a:gd name="connsiteY880" fmla="*/ 373273 h 605239"/>
              <a:gd name="connsiteX881" fmla="*/ 373273 h 605239"/>
              <a:gd name="connsiteY881" fmla="*/ 373273 h 605239"/>
              <a:gd name="connsiteX882" fmla="*/ 373273 h 605239"/>
              <a:gd name="connsiteY882" fmla="*/ 373273 h 605239"/>
              <a:gd name="connsiteX883" fmla="*/ 373273 h 605239"/>
              <a:gd name="connsiteY883" fmla="*/ 373273 h 605239"/>
              <a:gd name="connsiteX884" fmla="*/ 373273 h 605239"/>
              <a:gd name="connsiteY884" fmla="*/ 373273 h 605239"/>
              <a:gd name="connsiteX885" fmla="*/ 373273 h 605239"/>
              <a:gd name="connsiteY885" fmla="*/ 373273 h 605239"/>
              <a:gd name="connsiteX886" fmla="*/ 373273 h 605239"/>
              <a:gd name="connsiteY886" fmla="*/ 373273 h 605239"/>
              <a:gd name="connsiteX887" fmla="*/ 373273 h 605239"/>
              <a:gd name="connsiteY887" fmla="*/ 373273 h 605239"/>
              <a:gd name="connsiteX888" fmla="*/ 373273 h 605239"/>
              <a:gd name="connsiteY888" fmla="*/ 373273 h 605239"/>
              <a:gd name="connsiteX889" fmla="*/ 373273 h 605239"/>
              <a:gd name="connsiteY889" fmla="*/ 373273 h 605239"/>
              <a:gd name="connsiteX890" fmla="*/ 373273 h 605239"/>
              <a:gd name="connsiteY890" fmla="*/ 373273 h 605239"/>
              <a:gd name="connsiteX891" fmla="*/ 373273 h 605239"/>
              <a:gd name="connsiteY891" fmla="*/ 373273 h 605239"/>
              <a:gd name="connsiteX892" fmla="*/ 373273 h 605239"/>
              <a:gd name="connsiteY892" fmla="*/ 373273 h 605239"/>
              <a:gd name="connsiteX893" fmla="*/ 373273 h 605239"/>
              <a:gd name="connsiteY893" fmla="*/ 373273 h 605239"/>
              <a:gd name="connsiteX894" fmla="*/ 373273 h 605239"/>
              <a:gd name="connsiteY894" fmla="*/ 373273 h 605239"/>
              <a:gd name="connsiteX895" fmla="*/ 373273 h 605239"/>
              <a:gd name="connsiteY895" fmla="*/ 373273 h 605239"/>
              <a:gd name="connsiteX896" fmla="*/ 373273 h 605239"/>
              <a:gd name="connsiteY89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</a:cxnLst>
            <a:rect l="l" t="t" r="r" b="b"/>
            <a:pathLst>
              <a:path w="609120" h="551398">
                <a:moveTo>
                  <a:pt x="430033" y="495016"/>
                </a:moveTo>
                <a:cubicBezTo>
                  <a:pt x="432856" y="495821"/>
                  <a:pt x="435680" y="496627"/>
                  <a:pt x="438504" y="496627"/>
                </a:cubicBezTo>
                <a:lnTo>
                  <a:pt x="458674" y="496627"/>
                </a:lnTo>
                <a:cubicBezTo>
                  <a:pt x="415914" y="530859"/>
                  <a:pt x="361858" y="551398"/>
                  <a:pt x="302962" y="551398"/>
                </a:cubicBezTo>
                <a:cubicBezTo>
                  <a:pt x="244065" y="551398"/>
                  <a:pt x="189606" y="530859"/>
                  <a:pt x="146846" y="496627"/>
                </a:cubicBezTo>
                <a:lnTo>
                  <a:pt x="170243" y="496627"/>
                </a:lnTo>
                <a:cubicBezTo>
                  <a:pt x="172664" y="496627"/>
                  <a:pt x="174681" y="496224"/>
                  <a:pt x="176698" y="495821"/>
                </a:cubicBezTo>
                <a:cubicBezTo>
                  <a:pt x="213004" y="519582"/>
                  <a:pt x="256571" y="533275"/>
                  <a:pt x="302962" y="533275"/>
                </a:cubicBezTo>
                <a:cubicBezTo>
                  <a:pt x="349756" y="533275"/>
                  <a:pt x="393323" y="519180"/>
                  <a:pt x="430033" y="495016"/>
                </a:cubicBezTo>
                <a:close/>
                <a:moveTo>
                  <a:pt x="505449" y="470859"/>
                </a:moveTo>
                <a:cubicBezTo>
                  <a:pt x="504642" y="470859"/>
                  <a:pt x="503836" y="471262"/>
                  <a:pt x="503836" y="472471"/>
                </a:cubicBezTo>
                <a:cubicBezTo>
                  <a:pt x="503836" y="473276"/>
                  <a:pt x="504642" y="474082"/>
                  <a:pt x="505449" y="474082"/>
                </a:cubicBezTo>
                <a:lnTo>
                  <a:pt x="532073" y="474082"/>
                </a:lnTo>
                <a:cubicBezTo>
                  <a:pt x="532880" y="474082"/>
                  <a:pt x="533686" y="473276"/>
                  <a:pt x="533686" y="472471"/>
                </a:cubicBezTo>
                <a:cubicBezTo>
                  <a:pt x="533686" y="471262"/>
                  <a:pt x="532880" y="470859"/>
                  <a:pt x="532073" y="470859"/>
                </a:cubicBezTo>
                <a:close/>
                <a:moveTo>
                  <a:pt x="76635" y="470859"/>
                </a:moveTo>
                <a:cubicBezTo>
                  <a:pt x="75828" y="470859"/>
                  <a:pt x="75022" y="471262"/>
                  <a:pt x="75022" y="472471"/>
                </a:cubicBezTo>
                <a:cubicBezTo>
                  <a:pt x="75022" y="473276"/>
                  <a:pt x="75828" y="474082"/>
                  <a:pt x="76635" y="474082"/>
                </a:cubicBezTo>
                <a:lnTo>
                  <a:pt x="103659" y="474082"/>
                </a:lnTo>
                <a:cubicBezTo>
                  <a:pt x="104466" y="474082"/>
                  <a:pt x="105272" y="473276"/>
                  <a:pt x="105272" y="472471"/>
                </a:cubicBezTo>
                <a:cubicBezTo>
                  <a:pt x="105272" y="471262"/>
                  <a:pt x="104466" y="470859"/>
                  <a:pt x="103659" y="470859"/>
                </a:cubicBezTo>
                <a:close/>
                <a:moveTo>
                  <a:pt x="496171" y="461190"/>
                </a:moveTo>
                <a:lnTo>
                  <a:pt x="491331" y="467233"/>
                </a:lnTo>
                <a:lnTo>
                  <a:pt x="546191" y="467233"/>
                </a:lnTo>
                <a:lnTo>
                  <a:pt x="541351" y="461190"/>
                </a:lnTo>
                <a:close/>
                <a:moveTo>
                  <a:pt x="67762" y="461190"/>
                </a:moveTo>
                <a:lnTo>
                  <a:pt x="62518" y="467233"/>
                </a:lnTo>
                <a:lnTo>
                  <a:pt x="117776" y="467233"/>
                </a:lnTo>
                <a:lnTo>
                  <a:pt x="112532" y="461190"/>
                </a:lnTo>
                <a:close/>
                <a:moveTo>
                  <a:pt x="241228" y="408785"/>
                </a:moveTo>
                <a:cubicBezTo>
                  <a:pt x="241228" y="409191"/>
                  <a:pt x="241633" y="410002"/>
                  <a:pt x="242039" y="410408"/>
                </a:cubicBezTo>
                <a:cubicBezTo>
                  <a:pt x="241633" y="410002"/>
                  <a:pt x="240822" y="409597"/>
                  <a:pt x="240416" y="409191"/>
                </a:cubicBezTo>
                <a:cubicBezTo>
                  <a:pt x="240416" y="408785"/>
                  <a:pt x="240822" y="408785"/>
                  <a:pt x="241228" y="408785"/>
                </a:cubicBezTo>
                <a:close/>
                <a:moveTo>
                  <a:pt x="386097" y="388589"/>
                </a:moveTo>
                <a:lnTo>
                  <a:pt x="380804" y="396339"/>
                </a:lnTo>
                <a:cubicBezTo>
                  <a:pt x="379997" y="397547"/>
                  <a:pt x="375559" y="399158"/>
                  <a:pt x="375559" y="400367"/>
                </a:cubicBezTo>
                <a:lnTo>
                  <a:pt x="374713" y="400466"/>
                </a:lnTo>
                <a:close/>
                <a:moveTo>
                  <a:pt x="460673" y="360070"/>
                </a:moveTo>
                <a:cubicBezTo>
                  <a:pt x="457446" y="360070"/>
                  <a:pt x="454622" y="362487"/>
                  <a:pt x="454622" y="365710"/>
                </a:cubicBezTo>
                <a:lnTo>
                  <a:pt x="454622" y="435407"/>
                </a:lnTo>
                <a:cubicBezTo>
                  <a:pt x="454622" y="438630"/>
                  <a:pt x="457446" y="441450"/>
                  <a:pt x="460673" y="441450"/>
                </a:cubicBezTo>
                <a:lnTo>
                  <a:pt x="576849" y="441450"/>
                </a:lnTo>
                <a:cubicBezTo>
                  <a:pt x="580076" y="441450"/>
                  <a:pt x="582900" y="438630"/>
                  <a:pt x="582900" y="435407"/>
                </a:cubicBezTo>
                <a:lnTo>
                  <a:pt x="582900" y="365710"/>
                </a:lnTo>
                <a:cubicBezTo>
                  <a:pt x="582900" y="362487"/>
                  <a:pt x="580076" y="360070"/>
                  <a:pt x="576849" y="360070"/>
                </a:cubicBezTo>
                <a:close/>
                <a:moveTo>
                  <a:pt x="31864" y="360070"/>
                </a:moveTo>
                <a:cubicBezTo>
                  <a:pt x="28637" y="360070"/>
                  <a:pt x="26217" y="362487"/>
                  <a:pt x="26217" y="365710"/>
                </a:cubicBezTo>
                <a:lnTo>
                  <a:pt x="26217" y="435407"/>
                </a:lnTo>
                <a:cubicBezTo>
                  <a:pt x="26217" y="438630"/>
                  <a:pt x="28637" y="441450"/>
                  <a:pt x="31864" y="441450"/>
                </a:cubicBezTo>
                <a:lnTo>
                  <a:pt x="148430" y="441450"/>
                </a:lnTo>
                <a:cubicBezTo>
                  <a:pt x="151657" y="441450"/>
                  <a:pt x="154077" y="438630"/>
                  <a:pt x="154077" y="435407"/>
                </a:cubicBezTo>
                <a:lnTo>
                  <a:pt x="154077" y="365710"/>
                </a:lnTo>
                <a:cubicBezTo>
                  <a:pt x="154077" y="362487"/>
                  <a:pt x="151657" y="360070"/>
                  <a:pt x="148430" y="360070"/>
                </a:cubicBezTo>
                <a:close/>
                <a:moveTo>
                  <a:pt x="451799" y="354027"/>
                </a:moveTo>
                <a:lnTo>
                  <a:pt x="585320" y="354027"/>
                </a:lnTo>
                <a:cubicBezTo>
                  <a:pt x="589354" y="354027"/>
                  <a:pt x="592178" y="356847"/>
                  <a:pt x="592178" y="360473"/>
                </a:cubicBezTo>
                <a:lnTo>
                  <a:pt x="592178" y="400760"/>
                </a:lnTo>
                <a:lnTo>
                  <a:pt x="592178" y="440644"/>
                </a:lnTo>
                <a:lnTo>
                  <a:pt x="592178" y="447493"/>
                </a:lnTo>
                <a:lnTo>
                  <a:pt x="609120" y="467233"/>
                </a:lnTo>
                <a:cubicBezTo>
                  <a:pt x="609120" y="472873"/>
                  <a:pt x="604279" y="477305"/>
                  <a:pt x="599035" y="477305"/>
                </a:cubicBezTo>
                <a:lnTo>
                  <a:pt x="438487" y="477305"/>
                </a:lnTo>
                <a:cubicBezTo>
                  <a:pt x="432839" y="477305"/>
                  <a:pt x="428402" y="472873"/>
                  <a:pt x="428402" y="467233"/>
                </a:cubicBezTo>
                <a:lnTo>
                  <a:pt x="445344" y="447493"/>
                </a:lnTo>
                <a:lnTo>
                  <a:pt x="445344" y="440644"/>
                </a:lnTo>
                <a:lnTo>
                  <a:pt x="445344" y="400760"/>
                </a:lnTo>
                <a:lnTo>
                  <a:pt x="445344" y="360473"/>
                </a:lnTo>
                <a:cubicBezTo>
                  <a:pt x="445344" y="356847"/>
                  <a:pt x="448168" y="354027"/>
                  <a:pt x="451799" y="354027"/>
                </a:cubicBezTo>
                <a:close/>
                <a:moveTo>
                  <a:pt x="23394" y="354027"/>
                </a:moveTo>
                <a:lnTo>
                  <a:pt x="156900" y="354027"/>
                </a:lnTo>
                <a:cubicBezTo>
                  <a:pt x="160530" y="354027"/>
                  <a:pt x="163757" y="356847"/>
                  <a:pt x="163757" y="360473"/>
                </a:cubicBezTo>
                <a:lnTo>
                  <a:pt x="163757" y="400760"/>
                </a:lnTo>
                <a:lnTo>
                  <a:pt x="163757" y="440644"/>
                </a:lnTo>
                <a:lnTo>
                  <a:pt x="163757" y="447493"/>
                </a:lnTo>
                <a:lnTo>
                  <a:pt x="180294" y="467233"/>
                </a:lnTo>
                <a:cubicBezTo>
                  <a:pt x="180294" y="472873"/>
                  <a:pt x="175857" y="477305"/>
                  <a:pt x="170210" y="477305"/>
                </a:cubicBezTo>
                <a:lnTo>
                  <a:pt x="10084" y="477305"/>
                </a:lnTo>
                <a:cubicBezTo>
                  <a:pt x="4437" y="477305"/>
                  <a:pt x="0" y="472873"/>
                  <a:pt x="0" y="467233"/>
                </a:cubicBezTo>
                <a:lnTo>
                  <a:pt x="16537" y="447493"/>
                </a:lnTo>
                <a:lnTo>
                  <a:pt x="16537" y="440644"/>
                </a:lnTo>
                <a:lnTo>
                  <a:pt x="16537" y="400760"/>
                </a:lnTo>
                <a:lnTo>
                  <a:pt x="16537" y="360473"/>
                </a:lnTo>
                <a:cubicBezTo>
                  <a:pt x="16537" y="356847"/>
                  <a:pt x="19764" y="354027"/>
                  <a:pt x="23394" y="354027"/>
                </a:cubicBezTo>
                <a:close/>
                <a:moveTo>
                  <a:pt x="209334" y="285576"/>
                </a:moveTo>
                <a:cubicBezTo>
                  <a:pt x="208930" y="285576"/>
                  <a:pt x="207317" y="287590"/>
                  <a:pt x="210948" y="287187"/>
                </a:cubicBezTo>
                <a:lnTo>
                  <a:pt x="210625" y="286543"/>
                </a:lnTo>
                <a:lnTo>
                  <a:pt x="210948" y="286785"/>
                </a:lnTo>
                <a:cubicBezTo>
                  <a:pt x="210948" y="286382"/>
                  <a:pt x="210544" y="286382"/>
                  <a:pt x="210544" y="286382"/>
                </a:cubicBezTo>
                <a:lnTo>
                  <a:pt x="210625" y="286543"/>
                </a:lnTo>
                <a:close/>
                <a:moveTo>
                  <a:pt x="219824" y="281549"/>
                </a:moveTo>
                <a:cubicBezTo>
                  <a:pt x="218210" y="279132"/>
                  <a:pt x="218210" y="284771"/>
                  <a:pt x="218210" y="285174"/>
                </a:cubicBezTo>
                <a:cubicBezTo>
                  <a:pt x="217807" y="285174"/>
                  <a:pt x="212158" y="285576"/>
                  <a:pt x="214982" y="287590"/>
                </a:cubicBezTo>
                <a:cubicBezTo>
                  <a:pt x="216193" y="284368"/>
                  <a:pt x="218613" y="289201"/>
                  <a:pt x="218613" y="289201"/>
                </a:cubicBezTo>
                <a:cubicBezTo>
                  <a:pt x="219017" y="289201"/>
                  <a:pt x="221034" y="286382"/>
                  <a:pt x="221034" y="287590"/>
                </a:cubicBezTo>
                <a:cubicBezTo>
                  <a:pt x="221034" y="287590"/>
                  <a:pt x="225069" y="287590"/>
                  <a:pt x="225069" y="287590"/>
                </a:cubicBezTo>
                <a:cubicBezTo>
                  <a:pt x="225069" y="287993"/>
                  <a:pt x="224665" y="285979"/>
                  <a:pt x="224665" y="285174"/>
                </a:cubicBezTo>
                <a:cubicBezTo>
                  <a:pt x="223858" y="283965"/>
                  <a:pt x="224262" y="281951"/>
                  <a:pt x="222245" y="281951"/>
                </a:cubicBezTo>
                <a:cubicBezTo>
                  <a:pt x="221438" y="281549"/>
                  <a:pt x="220227" y="282354"/>
                  <a:pt x="219824" y="281549"/>
                </a:cubicBezTo>
                <a:close/>
                <a:moveTo>
                  <a:pt x="205703" y="273896"/>
                </a:moveTo>
                <a:cubicBezTo>
                  <a:pt x="204896" y="276313"/>
                  <a:pt x="204896" y="274701"/>
                  <a:pt x="204492" y="275104"/>
                </a:cubicBezTo>
                <a:cubicBezTo>
                  <a:pt x="204896" y="274701"/>
                  <a:pt x="204896" y="274701"/>
                  <a:pt x="205299" y="274299"/>
                </a:cubicBezTo>
                <a:cubicBezTo>
                  <a:pt x="205703" y="273896"/>
                  <a:pt x="205703" y="273493"/>
                  <a:pt x="205703" y="273896"/>
                </a:cubicBezTo>
                <a:close/>
                <a:moveTo>
                  <a:pt x="206006" y="272637"/>
                </a:moveTo>
                <a:cubicBezTo>
                  <a:pt x="205400" y="273191"/>
                  <a:pt x="204493" y="274098"/>
                  <a:pt x="202879" y="273896"/>
                </a:cubicBezTo>
                <a:lnTo>
                  <a:pt x="207062" y="273327"/>
                </a:lnTo>
                <a:lnTo>
                  <a:pt x="207317" y="273493"/>
                </a:lnTo>
                <a:cubicBezTo>
                  <a:pt x="211351" y="273896"/>
                  <a:pt x="212158" y="277924"/>
                  <a:pt x="210948" y="280743"/>
                </a:cubicBezTo>
                <a:cubicBezTo>
                  <a:pt x="212965" y="280743"/>
                  <a:pt x="214579" y="283160"/>
                  <a:pt x="216596" y="280743"/>
                </a:cubicBezTo>
                <a:cubicBezTo>
                  <a:pt x="215789" y="279937"/>
                  <a:pt x="217000" y="278729"/>
                  <a:pt x="215386" y="278326"/>
                </a:cubicBezTo>
                <a:cubicBezTo>
                  <a:pt x="215386" y="277521"/>
                  <a:pt x="212965" y="273896"/>
                  <a:pt x="211755" y="272688"/>
                </a:cubicBezTo>
                <a:lnTo>
                  <a:pt x="207062" y="273327"/>
                </a:lnTo>
                <a:close/>
                <a:moveTo>
                  <a:pt x="185368" y="269007"/>
                </a:moveTo>
                <a:lnTo>
                  <a:pt x="182488" y="283232"/>
                </a:lnTo>
                <a:lnTo>
                  <a:pt x="180688" y="279937"/>
                </a:lnTo>
                <a:close/>
                <a:moveTo>
                  <a:pt x="217807" y="262618"/>
                </a:moveTo>
                <a:cubicBezTo>
                  <a:pt x="217807" y="262618"/>
                  <a:pt x="217403" y="262618"/>
                  <a:pt x="217000" y="263021"/>
                </a:cubicBezTo>
                <a:cubicBezTo>
                  <a:pt x="217403" y="263021"/>
                  <a:pt x="217807" y="263021"/>
                  <a:pt x="218210" y="263021"/>
                </a:cubicBezTo>
                <a:cubicBezTo>
                  <a:pt x="218210" y="263021"/>
                  <a:pt x="218210" y="262618"/>
                  <a:pt x="217807" y="262618"/>
                </a:cubicBezTo>
                <a:close/>
                <a:moveTo>
                  <a:pt x="417782" y="261342"/>
                </a:moveTo>
                <a:lnTo>
                  <a:pt x="419940" y="263827"/>
                </a:lnTo>
                <a:cubicBezTo>
                  <a:pt x="420343" y="263827"/>
                  <a:pt x="419940" y="263021"/>
                  <a:pt x="420343" y="263021"/>
                </a:cubicBezTo>
                <a:cubicBezTo>
                  <a:pt x="421150" y="264229"/>
                  <a:pt x="420343" y="265438"/>
                  <a:pt x="421554" y="266646"/>
                </a:cubicBezTo>
                <a:cubicBezTo>
                  <a:pt x="423571" y="272285"/>
                  <a:pt x="424781" y="277924"/>
                  <a:pt x="425588" y="283965"/>
                </a:cubicBezTo>
                <a:lnTo>
                  <a:pt x="423260" y="285035"/>
                </a:lnTo>
                <a:close/>
                <a:moveTo>
                  <a:pt x="415350" y="255419"/>
                </a:moveTo>
                <a:lnTo>
                  <a:pt x="416662" y="256494"/>
                </a:lnTo>
                <a:lnTo>
                  <a:pt x="417782" y="261342"/>
                </a:lnTo>
                <a:lnTo>
                  <a:pt x="414695" y="257785"/>
                </a:lnTo>
                <a:cubicBezTo>
                  <a:pt x="413485" y="255369"/>
                  <a:pt x="414191" y="254966"/>
                  <a:pt x="415350" y="255419"/>
                </a:cubicBezTo>
                <a:close/>
                <a:moveTo>
                  <a:pt x="415669" y="252201"/>
                </a:moveTo>
                <a:lnTo>
                  <a:pt x="418729" y="258188"/>
                </a:lnTo>
                <a:lnTo>
                  <a:pt x="416662" y="256494"/>
                </a:lnTo>
                <a:close/>
                <a:moveTo>
                  <a:pt x="411187" y="243429"/>
                </a:moveTo>
                <a:lnTo>
                  <a:pt x="414644" y="247766"/>
                </a:lnTo>
                <a:lnTo>
                  <a:pt x="415669" y="252201"/>
                </a:lnTo>
                <a:close/>
                <a:moveTo>
                  <a:pt x="197803" y="239965"/>
                </a:moveTo>
                <a:lnTo>
                  <a:pt x="185368" y="269007"/>
                </a:lnTo>
                <a:lnTo>
                  <a:pt x="188442" y="253820"/>
                </a:lnTo>
                <a:close/>
                <a:moveTo>
                  <a:pt x="357000" y="236035"/>
                </a:moveTo>
                <a:cubicBezTo>
                  <a:pt x="357000" y="236438"/>
                  <a:pt x="360228" y="238452"/>
                  <a:pt x="361035" y="238452"/>
                </a:cubicBezTo>
                <a:cubicBezTo>
                  <a:pt x="361035" y="238452"/>
                  <a:pt x="361438" y="236438"/>
                  <a:pt x="361438" y="236035"/>
                </a:cubicBezTo>
                <a:cubicBezTo>
                  <a:pt x="360631" y="236035"/>
                  <a:pt x="357807" y="235633"/>
                  <a:pt x="357000" y="236035"/>
                </a:cubicBezTo>
                <a:close/>
                <a:moveTo>
                  <a:pt x="350141" y="230799"/>
                </a:moveTo>
                <a:cubicBezTo>
                  <a:pt x="350141" y="231202"/>
                  <a:pt x="350948" y="231202"/>
                  <a:pt x="350948" y="231605"/>
                </a:cubicBezTo>
                <a:cubicBezTo>
                  <a:pt x="351352" y="236035"/>
                  <a:pt x="354176" y="229994"/>
                  <a:pt x="350141" y="230799"/>
                </a:cubicBezTo>
                <a:close/>
                <a:moveTo>
                  <a:pt x="262994" y="227980"/>
                </a:moveTo>
                <a:lnTo>
                  <a:pt x="262994" y="228199"/>
                </a:lnTo>
                <a:lnTo>
                  <a:pt x="262738" y="228184"/>
                </a:lnTo>
                <a:close/>
                <a:moveTo>
                  <a:pt x="257749" y="227980"/>
                </a:moveTo>
                <a:lnTo>
                  <a:pt x="258014" y="228068"/>
                </a:lnTo>
                <a:lnTo>
                  <a:pt x="258100" y="228490"/>
                </a:lnTo>
                <a:lnTo>
                  <a:pt x="257346" y="228383"/>
                </a:lnTo>
                <a:cubicBezTo>
                  <a:pt x="257346" y="227980"/>
                  <a:pt x="257346" y="227980"/>
                  <a:pt x="257749" y="227980"/>
                </a:cubicBezTo>
                <a:close/>
                <a:moveTo>
                  <a:pt x="351352" y="227577"/>
                </a:moveTo>
                <a:cubicBezTo>
                  <a:pt x="350948" y="227980"/>
                  <a:pt x="350545" y="227980"/>
                  <a:pt x="350141" y="227980"/>
                </a:cubicBezTo>
                <a:cubicBezTo>
                  <a:pt x="350545" y="228383"/>
                  <a:pt x="350948" y="229591"/>
                  <a:pt x="351352" y="229994"/>
                </a:cubicBezTo>
                <a:cubicBezTo>
                  <a:pt x="351352" y="229591"/>
                  <a:pt x="351755" y="228383"/>
                  <a:pt x="351755" y="227980"/>
                </a:cubicBezTo>
                <a:cubicBezTo>
                  <a:pt x="351352" y="227980"/>
                  <a:pt x="351352" y="227577"/>
                  <a:pt x="351352" y="227577"/>
                </a:cubicBezTo>
                <a:close/>
                <a:moveTo>
                  <a:pt x="267432" y="222341"/>
                </a:moveTo>
                <a:cubicBezTo>
                  <a:pt x="265011" y="222341"/>
                  <a:pt x="263397" y="225966"/>
                  <a:pt x="260977" y="226771"/>
                </a:cubicBezTo>
                <a:cubicBezTo>
                  <a:pt x="260977" y="226771"/>
                  <a:pt x="260977" y="226771"/>
                  <a:pt x="261380" y="226771"/>
                </a:cubicBezTo>
                <a:cubicBezTo>
                  <a:pt x="260977" y="227577"/>
                  <a:pt x="260170" y="227174"/>
                  <a:pt x="259766" y="227980"/>
                </a:cubicBezTo>
                <a:cubicBezTo>
                  <a:pt x="259766" y="227980"/>
                  <a:pt x="261178" y="228081"/>
                  <a:pt x="262691" y="228182"/>
                </a:cubicBezTo>
                <a:lnTo>
                  <a:pt x="262738" y="228184"/>
                </a:lnTo>
                <a:lnTo>
                  <a:pt x="260977" y="229591"/>
                </a:lnTo>
                <a:cubicBezTo>
                  <a:pt x="260573" y="229994"/>
                  <a:pt x="262994" y="229994"/>
                  <a:pt x="262994" y="229188"/>
                </a:cubicBezTo>
                <a:cubicBezTo>
                  <a:pt x="261784" y="229188"/>
                  <a:pt x="262994" y="228785"/>
                  <a:pt x="262994" y="228383"/>
                </a:cubicBezTo>
                <a:lnTo>
                  <a:pt x="262994" y="228199"/>
                </a:lnTo>
                <a:lnTo>
                  <a:pt x="266222" y="228383"/>
                </a:lnTo>
                <a:cubicBezTo>
                  <a:pt x="265818" y="228383"/>
                  <a:pt x="265415" y="228383"/>
                  <a:pt x="265415" y="228785"/>
                </a:cubicBezTo>
                <a:cubicBezTo>
                  <a:pt x="265011" y="229188"/>
                  <a:pt x="267836" y="227577"/>
                  <a:pt x="267836" y="227980"/>
                </a:cubicBezTo>
                <a:lnTo>
                  <a:pt x="269132" y="227721"/>
                </a:lnTo>
                <a:lnTo>
                  <a:pt x="269046" y="227980"/>
                </a:lnTo>
                <a:cubicBezTo>
                  <a:pt x="269449" y="227980"/>
                  <a:pt x="269449" y="227577"/>
                  <a:pt x="269853" y="227577"/>
                </a:cubicBezTo>
                <a:lnTo>
                  <a:pt x="269132" y="227721"/>
                </a:lnTo>
                <a:lnTo>
                  <a:pt x="269449" y="226771"/>
                </a:lnTo>
                <a:cubicBezTo>
                  <a:pt x="269449" y="226771"/>
                  <a:pt x="269046" y="226771"/>
                  <a:pt x="269046" y="226771"/>
                </a:cubicBezTo>
                <a:cubicBezTo>
                  <a:pt x="269046" y="226369"/>
                  <a:pt x="269449" y="225966"/>
                  <a:pt x="269449" y="225563"/>
                </a:cubicBezTo>
                <a:cubicBezTo>
                  <a:pt x="269046" y="225563"/>
                  <a:pt x="268642" y="225563"/>
                  <a:pt x="267836" y="225563"/>
                </a:cubicBezTo>
                <a:lnTo>
                  <a:pt x="267432" y="225563"/>
                </a:lnTo>
                <a:cubicBezTo>
                  <a:pt x="267432" y="225563"/>
                  <a:pt x="267029" y="225563"/>
                  <a:pt x="267029" y="225563"/>
                </a:cubicBezTo>
                <a:lnTo>
                  <a:pt x="266222" y="225563"/>
                </a:lnTo>
                <a:cubicBezTo>
                  <a:pt x="266222" y="225160"/>
                  <a:pt x="266625" y="225160"/>
                  <a:pt x="267029" y="224758"/>
                </a:cubicBezTo>
                <a:cubicBezTo>
                  <a:pt x="266222" y="224758"/>
                  <a:pt x="265818" y="224758"/>
                  <a:pt x="265011" y="225160"/>
                </a:cubicBezTo>
                <a:cubicBezTo>
                  <a:pt x="265011" y="224758"/>
                  <a:pt x="268239" y="222341"/>
                  <a:pt x="267432" y="222341"/>
                </a:cubicBezTo>
                <a:close/>
                <a:moveTo>
                  <a:pt x="211916" y="219074"/>
                </a:moveTo>
                <a:lnTo>
                  <a:pt x="197803" y="239965"/>
                </a:lnTo>
                <a:lnTo>
                  <a:pt x="202072" y="229994"/>
                </a:lnTo>
                <a:close/>
                <a:moveTo>
                  <a:pt x="260977" y="213077"/>
                </a:moveTo>
                <a:lnTo>
                  <a:pt x="261292" y="213127"/>
                </a:lnTo>
                <a:lnTo>
                  <a:pt x="261380" y="213480"/>
                </a:lnTo>
                <a:cubicBezTo>
                  <a:pt x="261380" y="213480"/>
                  <a:pt x="260977" y="213077"/>
                  <a:pt x="260977" y="213077"/>
                </a:cubicBezTo>
                <a:close/>
                <a:moveTo>
                  <a:pt x="217777" y="212572"/>
                </a:moveTo>
                <a:lnTo>
                  <a:pt x="211916" y="219074"/>
                </a:lnTo>
                <a:lnTo>
                  <a:pt x="215083" y="214386"/>
                </a:lnTo>
                <a:close/>
                <a:moveTo>
                  <a:pt x="244838" y="210661"/>
                </a:moveTo>
                <a:cubicBezTo>
                  <a:pt x="244031" y="210258"/>
                  <a:pt x="243628" y="210661"/>
                  <a:pt x="242821" y="211063"/>
                </a:cubicBezTo>
                <a:cubicBezTo>
                  <a:pt x="242418" y="211063"/>
                  <a:pt x="242418" y="211466"/>
                  <a:pt x="242418" y="211466"/>
                </a:cubicBezTo>
                <a:cubicBezTo>
                  <a:pt x="243225" y="211466"/>
                  <a:pt x="244435" y="211063"/>
                  <a:pt x="244838" y="210661"/>
                </a:cubicBezTo>
                <a:close/>
                <a:moveTo>
                  <a:pt x="353369" y="209855"/>
                </a:moveTo>
                <a:cubicBezTo>
                  <a:pt x="352562" y="209855"/>
                  <a:pt x="352965" y="211466"/>
                  <a:pt x="351352" y="210661"/>
                </a:cubicBezTo>
                <a:cubicBezTo>
                  <a:pt x="351755" y="210258"/>
                  <a:pt x="351755" y="210258"/>
                  <a:pt x="351755" y="210661"/>
                </a:cubicBezTo>
                <a:cubicBezTo>
                  <a:pt x="352159" y="210661"/>
                  <a:pt x="352562" y="210258"/>
                  <a:pt x="352562" y="210258"/>
                </a:cubicBezTo>
                <a:cubicBezTo>
                  <a:pt x="350141" y="209855"/>
                  <a:pt x="352159" y="207841"/>
                  <a:pt x="353369" y="209855"/>
                </a:cubicBezTo>
                <a:close/>
                <a:moveTo>
                  <a:pt x="329968" y="209452"/>
                </a:moveTo>
                <a:cubicBezTo>
                  <a:pt x="329968" y="209452"/>
                  <a:pt x="329565" y="209855"/>
                  <a:pt x="329565" y="209855"/>
                </a:cubicBezTo>
                <a:cubicBezTo>
                  <a:pt x="329968" y="209855"/>
                  <a:pt x="330372" y="209855"/>
                  <a:pt x="330372" y="209855"/>
                </a:cubicBezTo>
                <a:cubicBezTo>
                  <a:pt x="330372" y="209855"/>
                  <a:pt x="330372" y="209855"/>
                  <a:pt x="330372" y="209452"/>
                </a:cubicBezTo>
                <a:cubicBezTo>
                  <a:pt x="330372" y="209452"/>
                  <a:pt x="329968" y="209452"/>
                  <a:pt x="329968" y="209452"/>
                </a:cubicBezTo>
                <a:close/>
                <a:moveTo>
                  <a:pt x="223523" y="208703"/>
                </a:moveTo>
                <a:lnTo>
                  <a:pt x="217777" y="212572"/>
                </a:lnTo>
                <a:lnTo>
                  <a:pt x="220227" y="209855"/>
                </a:lnTo>
                <a:close/>
                <a:moveTo>
                  <a:pt x="326741" y="208244"/>
                </a:moveTo>
                <a:cubicBezTo>
                  <a:pt x="326337" y="208244"/>
                  <a:pt x="323916" y="208244"/>
                  <a:pt x="325127" y="209049"/>
                </a:cubicBezTo>
                <a:cubicBezTo>
                  <a:pt x="324723" y="209049"/>
                  <a:pt x="323109" y="209049"/>
                  <a:pt x="323109" y="209452"/>
                </a:cubicBezTo>
                <a:cubicBezTo>
                  <a:pt x="323109" y="209855"/>
                  <a:pt x="323513" y="210258"/>
                  <a:pt x="323916" y="210258"/>
                </a:cubicBezTo>
                <a:cubicBezTo>
                  <a:pt x="323513" y="211063"/>
                  <a:pt x="320689" y="212674"/>
                  <a:pt x="323513" y="213077"/>
                </a:cubicBezTo>
                <a:cubicBezTo>
                  <a:pt x="325934" y="213077"/>
                  <a:pt x="327548" y="212272"/>
                  <a:pt x="327548" y="209855"/>
                </a:cubicBezTo>
                <a:cubicBezTo>
                  <a:pt x="327548" y="209855"/>
                  <a:pt x="329565" y="208244"/>
                  <a:pt x="326741" y="208244"/>
                </a:cubicBezTo>
                <a:close/>
                <a:moveTo>
                  <a:pt x="366280" y="206633"/>
                </a:moveTo>
                <a:cubicBezTo>
                  <a:pt x="365876" y="206633"/>
                  <a:pt x="364666" y="206230"/>
                  <a:pt x="365876" y="207036"/>
                </a:cubicBezTo>
                <a:cubicBezTo>
                  <a:pt x="365473" y="207036"/>
                  <a:pt x="365069" y="207036"/>
                  <a:pt x="364666" y="207036"/>
                </a:cubicBezTo>
                <a:cubicBezTo>
                  <a:pt x="364666" y="207438"/>
                  <a:pt x="365069" y="207841"/>
                  <a:pt x="365473" y="207841"/>
                </a:cubicBezTo>
                <a:cubicBezTo>
                  <a:pt x="365876" y="207841"/>
                  <a:pt x="366280" y="207036"/>
                  <a:pt x="366280" y="206633"/>
                </a:cubicBezTo>
                <a:close/>
                <a:moveTo>
                  <a:pt x="224665" y="206230"/>
                </a:moveTo>
                <a:cubicBezTo>
                  <a:pt x="225069" y="206230"/>
                  <a:pt x="225069" y="206230"/>
                  <a:pt x="224665" y="206633"/>
                </a:cubicBezTo>
                <a:cubicBezTo>
                  <a:pt x="224665" y="206633"/>
                  <a:pt x="223858" y="206633"/>
                  <a:pt x="223858" y="207036"/>
                </a:cubicBezTo>
                <a:cubicBezTo>
                  <a:pt x="223858" y="206633"/>
                  <a:pt x="224262" y="206633"/>
                  <a:pt x="224665" y="206230"/>
                </a:cubicBezTo>
                <a:close/>
                <a:moveTo>
                  <a:pt x="381208" y="205827"/>
                </a:moveTo>
                <a:cubicBezTo>
                  <a:pt x="383225" y="207841"/>
                  <a:pt x="385242" y="209855"/>
                  <a:pt x="386856" y="211063"/>
                </a:cubicBezTo>
                <a:cubicBezTo>
                  <a:pt x="395732" y="219119"/>
                  <a:pt x="402994" y="228383"/>
                  <a:pt x="409046" y="238452"/>
                </a:cubicBezTo>
                <a:cubicBezTo>
                  <a:pt x="409046" y="238452"/>
                  <a:pt x="409046" y="238452"/>
                  <a:pt x="408643" y="238452"/>
                </a:cubicBezTo>
                <a:lnTo>
                  <a:pt x="411187" y="243429"/>
                </a:lnTo>
                <a:close/>
                <a:moveTo>
                  <a:pt x="331986" y="204619"/>
                </a:moveTo>
                <a:cubicBezTo>
                  <a:pt x="331986" y="203008"/>
                  <a:pt x="327951" y="205425"/>
                  <a:pt x="328758" y="205425"/>
                </a:cubicBezTo>
                <a:cubicBezTo>
                  <a:pt x="328758" y="205827"/>
                  <a:pt x="327548" y="205425"/>
                  <a:pt x="327548" y="205425"/>
                </a:cubicBezTo>
                <a:cubicBezTo>
                  <a:pt x="327548" y="205827"/>
                  <a:pt x="327951" y="205827"/>
                  <a:pt x="328354" y="205827"/>
                </a:cubicBezTo>
                <a:cubicBezTo>
                  <a:pt x="328354" y="207036"/>
                  <a:pt x="328758" y="206633"/>
                  <a:pt x="328758" y="207841"/>
                </a:cubicBezTo>
                <a:lnTo>
                  <a:pt x="329161" y="207841"/>
                </a:lnTo>
                <a:lnTo>
                  <a:pt x="329161" y="208647"/>
                </a:lnTo>
                <a:cubicBezTo>
                  <a:pt x="329161" y="209452"/>
                  <a:pt x="331179" y="209049"/>
                  <a:pt x="331582" y="209049"/>
                </a:cubicBezTo>
                <a:cubicBezTo>
                  <a:pt x="331179" y="209855"/>
                  <a:pt x="331582" y="209855"/>
                  <a:pt x="332389" y="209855"/>
                </a:cubicBezTo>
                <a:cubicBezTo>
                  <a:pt x="332389" y="211063"/>
                  <a:pt x="331179" y="211063"/>
                  <a:pt x="330372" y="211063"/>
                </a:cubicBezTo>
                <a:cubicBezTo>
                  <a:pt x="330372" y="212272"/>
                  <a:pt x="329161" y="212272"/>
                  <a:pt x="329161" y="213077"/>
                </a:cubicBezTo>
                <a:cubicBezTo>
                  <a:pt x="329161" y="213077"/>
                  <a:pt x="331986" y="213480"/>
                  <a:pt x="332389" y="213077"/>
                </a:cubicBezTo>
                <a:cubicBezTo>
                  <a:pt x="332389" y="213883"/>
                  <a:pt x="329565" y="214286"/>
                  <a:pt x="329161" y="215091"/>
                </a:cubicBezTo>
                <a:cubicBezTo>
                  <a:pt x="329968" y="215494"/>
                  <a:pt x="338441" y="214688"/>
                  <a:pt x="338441" y="214286"/>
                </a:cubicBezTo>
                <a:cubicBezTo>
                  <a:pt x="338037" y="213883"/>
                  <a:pt x="337634" y="213883"/>
                  <a:pt x="337634" y="213883"/>
                </a:cubicBezTo>
                <a:cubicBezTo>
                  <a:pt x="338441" y="212674"/>
                  <a:pt x="338441" y="211466"/>
                  <a:pt x="337634" y="211869"/>
                </a:cubicBezTo>
                <a:cubicBezTo>
                  <a:pt x="337231" y="211869"/>
                  <a:pt x="337231" y="211869"/>
                  <a:pt x="336827" y="212272"/>
                </a:cubicBezTo>
                <a:cubicBezTo>
                  <a:pt x="336827" y="210258"/>
                  <a:pt x="334003" y="208244"/>
                  <a:pt x="331986" y="207841"/>
                </a:cubicBezTo>
                <a:cubicBezTo>
                  <a:pt x="332389" y="207438"/>
                  <a:pt x="334003" y="206633"/>
                  <a:pt x="333599" y="205827"/>
                </a:cubicBezTo>
                <a:cubicBezTo>
                  <a:pt x="332389" y="206633"/>
                  <a:pt x="331179" y="206230"/>
                  <a:pt x="330775" y="205425"/>
                </a:cubicBezTo>
                <a:cubicBezTo>
                  <a:pt x="331179" y="205022"/>
                  <a:pt x="331582" y="205022"/>
                  <a:pt x="331986" y="204619"/>
                </a:cubicBezTo>
                <a:close/>
                <a:moveTo>
                  <a:pt x="303340" y="203411"/>
                </a:moveTo>
                <a:cubicBezTo>
                  <a:pt x="302533" y="203411"/>
                  <a:pt x="301726" y="203813"/>
                  <a:pt x="301323" y="203813"/>
                </a:cubicBezTo>
                <a:cubicBezTo>
                  <a:pt x="301323" y="204216"/>
                  <a:pt x="302936" y="204619"/>
                  <a:pt x="302936" y="204619"/>
                </a:cubicBezTo>
                <a:cubicBezTo>
                  <a:pt x="302130" y="204619"/>
                  <a:pt x="301323" y="204619"/>
                  <a:pt x="300919" y="204619"/>
                </a:cubicBezTo>
                <a:cubicBezTo>
                  <a:pt x="300919" y="205022"/>
                  <a:pt x="301726" y="204619"/>
                  <a:pt x="302130" y="205022"/>
                </a:cubicBezTo>
                <a:cubicBezTo>
                  <a:pt x="302130" y="205022"/>
                  <a:pt x="301726" y="205425"/>
                  <a:pt x="301726" y="205425"/>
                </a:cubicBezTo>
                <a:cubicBezTo>
                  <a:pt x="301726" y="205425"/>
                  <a:pt x="301323" y="205425"/>
                  <a:pt x="301323" y="205827"/>
                </a:cubicBezTo>
                <a:cubicBezTo>
                  <a:pt x="304550" y="205827"/>
                  <a:pt x="306568" y="207438"/>
                  <a:pt x="310199" y="205827"/>
                </a:cubicBezTo>
                <a:cubicBezTo>
                  <a:pt x="310602" y="205425"/>
                  <a:pt x="308988" y="204619"/>
                  <a:pt x="310199" y="204216"/>
                </a:cubicBezTo>
                <a:cubicBezTo>
                  <a:pt x="309392" y="204216"/>
                  <a:pt x="305761" y="203813"/>
                  <a:pt x="305761" y="204216"/>
                </a:cubicBezTo>
                <a:cubicBezTo>
                  <a:pt x="305357" y="204216"/>
                  <a:pt x="304550" y="204619"/>
                  <a:pt x="304147" y="204216"/>
                </a:cubicBezTo>
                <a:cubicBezTo>
                  <a:pt x="303743" y="204216"/>
                  <a:pt x="302533" y="204619"/>
                  <a:pt x="303340" y="203411"/>
                </a:cubicBezTo>
                <a:close/>
                <a:moveTo>
                  <a:pt x="229910" y="202202"/>
                </a:moveTo>
                <a:cubicBezTo>
                  <a:pt x="229910" y="202605"/>
                  <a:pt x="229910" y="202605"/>
                  <a:pt x="229910" y="202605"/>
                </a:cubicBezTo>
                <a:cubicBezTo>
                  <a:pt x="229910" y="202605"/>
                  <a:pt x="229910" y="202605"/>
                  <a:pt x="229910" y="203008"/>
                </a:cubicBezTo>
                <a:lnTo>
                  <a:pt x="231509" y="203327"/>
                </a:lnTo>
                <a:lnTo>
                  <a:pt x="227657" y="205921"/>
                </a:lnTo>
                <a:lnTo>
                  <a:pt x="225876" y="205827"/>
                </a:lnTo>
                <a:cubicBezTo>
                  <a:pt x="225876" y="205827"/>
                  <a:pt x="225472" y="205827"/>
                  <a:pt x="225069" y="205827"/>
                </a:cubicBezTo>
                <a:cubicBezTo>
                  <a:pt x="226279" y="205022"/>
                  <a:pt x="226683" y="205022"/>
                  <a:pt x="228297" y="205022"/>
                </a:cubicBezTo>
                <a:cubicBezTo>
                  <a:pt x="227893" y="204619"/>
                  <a:pt x="226683" y="204619"/>
                  <a:pt x="226279" y="205022"/>
                </a:cubicBezTo>
                <a:cubicBezTo>
                  <a:pt x="226683" y="204619"/>
                  <a:pt x="228297" y="203411"/>
                  <a:pt x="229103" y="202605"/>
                </a:cubicBezTo>
                <a:cubicBezTo>
                  <a:pt x="229103" y="202605"/>
                  <a:pt x="229507" y="202605"/>
                  <a:pt x="229910" y="202202"/>
                </a:cubicBezTo>
                <a:close/>
                <a:moveTo>
                  <a:pt x="245242" y="201800"/>
                </a:moveTo>
                <a:cubicBezTo>
                  <a:pt x="244838" y="201800"/>
                  <a:pt x="239997" y="202202"/>
                  <a:pt x="242014" y="202202"/>
                </a:cubicBezTo>
                <a:cubicBezTo>
                  <a:pt x="241207" y="202605"/>
                  <a:pt x="240400" y="202202"/>
                  <a:pt x="239593" y="202605"/>
                </a:cubicBezTo>
                <a:lnTo>
                  <a:pt x="244031" y="202605"/>
                </a:lnTo>
                <a:cubicBezTo>
                  <a:pt x="244838" y="201800"/>
                  <a:pt x="244031" y="202202"/>
                  <a:pt x="243628" y="202202"/>
                </a:cubicBezTo>
                <a:cubicBezTo>
                  <a:pt x="244031" y="202202"/>
                  <a:pt x="244838" y="201800"/>
                  <a:pt x="245242" y="201800"/>
                </a:cubicBezTo>
                <a:close/>
                <a:moveTo>
                  <a:pt x="260170" y="201397"/>
                </a:moveTo>
                <a:cubicBezTo>
                  <a:pt x="259766" y="201397"/>
                  <a:pt x="260977" y="201800"/>
                  <a:pt x="260977" y="201800"/>
                </a:cubicBezTo>
                <a:cubicBezTo>
                  <a:pt x="261784" y="201800"/>
                  <a:pt x="263801" y="201800"/>
                  <a:pt x="264204" y="201397"/>
                </a:cubicBezTo>
                <a:cubicBezTo>
                  <a:pt x="263397" y="200994"/>
                  <a:pt x="260977" y="200591"/>
                  <a:pt x="260170" y="201397"/>
                </a:cubicBezTo>
                <a:close/>
                <a:moveTo>
                  <a:pt x="241611" y="200591"/>
                </a:moveTo>
                <a:cubicBezTo>
                  <a:pt x="241207" y="200591"/>
                  <a:pt x="240804" y="200591"/>
                  <a:pt x="240400" y="200994"/>
                </a:cubicBezTo>
                <a:cubicBezTo>
                  <a:pt x="240400" y="200994"/>
                  <a:pt x="240400" y="200994"/>
                  <a:pt x="240804" y="200994"/>
                </a:cubicBezTo>
                <a:cubicBezTo>
                  <a:pt x="241207" y="200994"/>
                  <a:pt x="241611" y="200994"/>
                  <a:pt x="241611" y="200591"/>
                </a:cubicBezTo>
                <a:close/>
                <a:moveTo>
                  <a:pt x="237207" y="200558"/>
                </a:moveTo>
                <a:lnTo>
                  <a:pt x="237576" y="200591"/>
                </a:lnTo>
                <a:cubicBezTo>
                  <a:pt x="237173" y="200591"/>
                  <a:pt x="237173" y="200591"/>
                  <a:pt x="237173" y="200591"/>
                </a:cubicBezTo>
                <a:close/>
                <a:moveTo>
                  <a:pt x="250083" y="200189"/>
                </a:moveTo>
                <a:cubicBezTo>
                  <a:pt x="250890" y="200591"/>
                  <a:pt x="247663" y="200591"/>
                  <a:pt x="247259" y="200591"/>
                </a:cubicBezTo>
                <a:cubicBezTo>
                  <a:pt x="247663" y="200591"/>
                  <a:pt x="248066" y="200591"/>
                  <a:pt x="248066" y="200591"/>
                </a:cubicBezTo>
                <a:cubicBezTo>
                  <a:pt x="248873" y="200189"/>
                  <a:pt x="249276" y="200189"/>
                  <a:pt x="250083" y="200189"/>
                </a:cubicBezTo>
                <a:close/>
                <a:moveTo>
                  <a:pt x="233138" y="200189"/>
                </a:moveTo>
                <a:lnTo>
                  <a:pt x="235810" y="200431"/>
                </a:lnTo>
                <a:lnTo>
                  <a:pt x="235129" y="200889"/>
                </a:lnTo>
                <a:lnTo>
                  <a:pt x="233138" y="200994"/>
                </a:lnTo>
                <a:cubicBezTo>
                  <a:pt x="233138" y="200994"/>
                  <a:pt x="232735" y="201397"/>
                  <a:pt x="232735" y="201397"/>
                </a:cubicBezTo>
                <a:lnTo>
                  <a:pt x="231928" y="201397"/>
                </a:lnTo>
                <a:lnTo>
                  <a:pt x="230717" y="201397"/>
                </a:lnTo>
                <a:cubicBezTo>
                  <a:pt x="231121" y="200994"/>
                  <a:pt x="231524" y="200994"/>
                  <a:pt x="231928" y="200994"/>
                </a:cubicBezTo>
                <a:cubicBezTo>
                  <a:pt x="231928" y="200994"/>
                  <a:pt x="231928" y="200994"/>
                  <a:pt x="231524" y="200994"/>
                </a:cubicBezTo>
                <a:cubicBezTo>
                  <a:pt x="231928" y="200591"/>
                  <a:pt x="232331" y="200591"/>
                  <a:pt x="232735" y="200591"/>
                </a:cubicBezTo>
                <a:lnTo>
                  <a:pt x="233138" y="200591"/>
                </a:lnTo>
                <a:cubicBezTo>
                  <a:pt x="233138" y="200591"/>
                  <a:pt x="233138" y="200189"/>
                  <a:pt x="233138" y="200189"/>
                </a:cubicBezTo>
                <a:close/>
                <a:moveTo>
                  <a:pt x="242418" y="199786"/>
                </a:moveTo>
                <a:lnTo>
                  <a:pt x="242014" y="200189"/>
                </a:lnTo>
                <a:cubicBezTo>
                  <a:pt x="242014" y="200189"/>
                  <a:pt x="242418" y="200189"/>
                  <a:pt x="242418" y="200189"/>
                </a:cubicBezTo>
                <a:cubicBezTo>
                  <a:pt x="242418" y="200189"/>
                  <a:pt x="242418" y="200189"/>
                  <a:pt x="242418" y="200591"/>
                </a:cubicBezTo>
                <a:cubicBezTo>
                  <a:pt x="242821" y="200189"/>
                  <a:pt x="243628" y="200189"/>
                  <a:pt x="244031" y="200189"/>
                </a:cubicBezTo>
                <a:cubicBezTo>
                  <a:pt x="244031" y="200189"/>
                  <a:pt x="244435" y="200189"/>
                  <a:pt x="244435" y="200189"/>
                </a:cubicBezTo>
                <a:lnTo>
                  <a:pt x="245645" y="200189"/>
                </a:lnTo>
                <a:cubicBezTo>
                  <a:pt x="245242" y="200189"/>
                  <a:pt x="244435" y="200591"/>
                  <a:pt x="244031" y="200591"/>
                </a:cubicBezTo>
                <a:cubicBezTo>
                  <a:pt x="244838" y="200189"/>
                  <a:pt x="248066" y="201397"/>
                  <a:pt x="248066" y="199786"/>
                </a:cubicBezTo>
                <a:lnTo>
                  <a:pt x="246049" y="199786"/>
                </a:lnTo>
                <a:cubicBezTo>
                  <a:pt x="245242" y="200189"/>
                  <a:pt x="244435" y="199786"/>
                  <a:pt x="244031" y="200189"/>
                </a:cubicBezTo>
                <a:cubicBezTo>
                  <a:pt x="243628" y="200189"/>
                  <a:pt x="242418" y="199786"/>
                  <a:pt x="242418" y="199786"/>
                </a:cubicBezTo>
                <a:close/>
                <a:moveTo>
                  <a:pt x="233541" y="199786"/>
                </a:moveTo>
                <a:cubicBezTo>
                  <a:pt x="234348" y="199786"/>
                  <a:pt x="234348" y="199786"/>
                  <a:pt x="233945" y="199786"/>
                </a:cubicBezTo>
                <a:cubicBezTo>
                  <a:pt x="233541" y="199383"/>
                  <a:pt x="232735" y="199786"/>
                  <a:pt x="232331" y="200591"/>
                </a:cubicBezTo>
                <a:cubicBezTo>
                  <a:pt x="232735" y="200591"/>
                  <a:pt x="233138" y="200189"/>
                  <a:pt x="233541" y="199786"/>
                </a:cubicBezTo>
                <a:close/>
                <a:moveTo>
                  <a:pt x="249276" y="199383"/>
                </a:moveTo>
                <a:cubicBezTo>
                  <a:pt x="249680" y="199786"/>
                  <a:pt x="250083" y="199786"/>
                  <a:pt x="250890" y="199786"/>
                </a:cubicBezTo>
                <a:cubicBezTo>
                  <a:pt x="251294" y="199383"/>
                  <a:pt x="251697" y="199383"/>
                  <a:pt x="251697" y="200189"/>
                </a:cubicBezTo>
                <a:cubicBezTo>
                  <a:pt x="249680" y="200591"/>
                  <a:pt x="253714" y="200591"/>
                  <a:pt x="254118" y="200591"/>
                </a:cubicBezTo>
                <a:cubicBezTo>
                  <a:pt x="256135" y="199383"/>
                  <a:pt x="260573" y="201397"/>
                  <a:pt x="262994" y="200189"/>
                </a:cubicBezTo>
                <a:lnTo>
                  <a:pt x="262591" y="200189"/>
                </a:lnTo>
                <a:cubicBezTo>
                  <a:pt x="262591" y="199786"/>
                  <a:pt x="262994" y="199786"/>
                  <a:pt x="262994" y="199786"/>
                </a:cubicBezTo>
                <a:cubicBezTo>
                  <a:pt x="262994" y="199383"/>
                  <a:pt x="253714" y="200189"/>
                  <a:pt x="254521" y="199786"/>
                </a:cubicBezTo>
                <a:cubicBezTo>
                  <a:pt x="254521" y="199383"/>
                  <a:pt x="249680" y="198980"/>
                  <a:pt x="249276" y="199383"/>
                </a:cubicBezTo>
                <a:close/>
                <a:moveTo>
                  <a:pt x="242418" y="198980"/>
                </a:moveTo>
                <a:cubicBezTo>
                  <a:pt x="242418" y="199383"/>
                  <a:pt x="242418" y="199383"/>
                  <a:pt x="242821" y="199383"/>
                </a:cubicBezTo>
                <a:cubicBezTo>
                  <a:pt x="242821" y="199383"/>
                  <a:pt x="243225" y="199383"/>
                  <a:pt x="243225" y="199383"/>
                </a:cubicBezTo>
                <a:cubicBezTo>
                  <a:pt x="242821" y="199383"/>
                  <a:pt x="243225" y="198980"/>
                  <a:pt x="242418" y="198980"/>
                </a:cubicBezTo>
                <a:close/>
                <a:moveTo>
                  <a:pt x="238383" y="198980"/>
                </a:moveTo>
                <a:cubicBezTo>
                  <a:pt x="237173" y="199383"/>
                  <a:pt x="236366" y="199786"/>
                  <a:pt x="237173" y="199786"/>
                </a:cubicBezTo>
                <a:cubicBezTo>
                  <a:pt x="237576" y="199786"/>
                  <a:pt x="238786" y="199383"/>
                  <a:pt x="239190" y="199383"/>
                </a:cubicBezTo>
                <a:cubicBezTo>
                  <a:pt x="237980" y="199383"/>
                  <a:pt x="237980" y="199383"/>
                  <a:pt x="239593" y="198980"/>
                </a:cubicBezTo>
                <a:close/>
                <a:moveTo>
                  <a:pt x="252908" y="198577"/>
                </a:moveTo>
                <a:cubicBezTo>
                  <a:pt x="252101" y="198980"/>
                  <a:pt x="251294" y="198577"/>
                  <a:pt x="250487" y="198980"/>
                </a:cubicBezTo>
                <a:cubicBezTo>
                  <a:pt x="250487" y="198980"/>
                  <a:pt x="252101" y="198980"/>
                  <a:pt x="252101" y="198980"/>
                </a:cubicBezTo>
                <a:cubicBezTo>
                  <a:pt x="252504" y="198980"/>
                  <a:pt x="252908" y="198980"/>
                  <a:pt x="252908" y="198577"/>
                </a:cubicBezTo>
                <a:close/>
                <a:moveTo>
                  <a:pt x="245299" y="198261"/>
                </a:moveTo>
                <a:lnTo>
                  <a:pt x="245366" y="198268"/>
                </a:lnTo>
                <a:lnTo>
                  <a:pt x="244435" y="198577"/>
                </a:lnTo>
                <a:lnTo>
                  <a:pt x="244569" y="198443"/>
                </a:lnTo>
                <a:close/>
                <a:moveTo>
                  <a:pt x="244435" y="198175"/>
                </a:moveTo>
                <a:lnTo>
                  <a:pt x="244801" y="198212"/>
                </a:lnTo>
                <a:lnTo>
                  <a:pt x="244569" y="198443"/>
                </a:lnTo>
                <a:lnTo>
                  <a:pt x="244031" y="198577"/>
                </a:lnTo>
                <a:cubicBezTo>
                  <a:pt x="244435" y="198980"/>
                  <a:pt x="245242" y="198980"/>
                  <a:pt x="246049" y="198980"/>
                </a:cubicBezTo>
                <a:lnTo>
                  <a:pt x="246452" y="198980"/>
                </a:lnTo>
                <a:cubicBezTo>
                  <a:pt x="247663" y="198980"/>
                  <a:pt x="248469" y="198577"/>
                  <a:pt x="248066" y="198577"/>
                </a:cubicBezTo>
                <a:cubicBezTo>
                  <a:pt x="248066" y="198577"/>
                  <a:pt x="248469" y="198577"/>
                  <a:pt x="248469" y="198577"/>
                </a:cubicBezTo>
                <a:lnTo>
                  <a:pt x="245366" y="198268"/>
                </a:lnTo>
                <a:lnTo>
                  <a:pt x="245645" y="198175"/>
                </a:lnTo>
                <a:lnTo>
                  <a:pt x="245299" y="198261"/>
                </a:lnTo>
                <a:lnTo>
                  <a:pt x="244801" y="198212"/>
                </a:lnTo>
                <a:lnTo>
                  <a:pt x="244838" y="198175"/>
                </a:lnTo>
                <a:cubicBezTo>
                  <a:pt x="244435" y="198175"/>
                  <a:pt x="244435" y="198175"/>
                  <a:pt x="244435" y="198175"/>
                </a:cubicBezTo>
                <a:close/>
                <a:moveTo>
                  <a:pt x="250487" y="197369"/>
                </a:moveTo>
                <a:cubicBezTo>
                  <a:pt x="250083" y="197772"/>
                  <a:pt x="251697" y="197772"/>
                  <a:pt x="251294" y="197772"/>
                </a:cubicBezTo>
                <a:cubicBezTo>
                  <a:pt x="251294" y="197772"/>
                  <a:pt x="251294" y="197369"/>
                  <a:pt x="251294" y="197369"/>
                </a:cubicBezTo>
                <a:cubicBezTo>
                  <a:pt x="251294" y="197369"/>
                  <a:pt x="250890" y="197369"/>
                  <a:pt x="250487" y="197369"/>
                </a:cubicBezTo>
                <a:close/>
                <a:moveTo>
                  <a:pt x="341265" y="194147"/>
                </a:moveTo>
                <a:cubicBezTo>
                  <a:pt x="341265" y="194550"/>
                  <a:pt x="341669" y="194550"/>
                  <a:pt x="342072" y="194550"/>
                </a:cubicBezTo>
                <a:cubicBezTo>
                  <a:pt x="341669" y="194550"/>
                  <a:pt x="342072" y="194952"/>
                  <a:pt x="342476" y="194952"/>
                </a:cubicBezTo>
                <a:cubicBezTo>
                  <a:pt x="342879" y="195355"/>
                  <a:pt x="344493" y="194952"/>
                  <a:pt x="345300" y="194952"/>
                </a:cubicBezTo>
                <a:cubicBezTo>
                  <a:pt x="344493" y="194952"/>
                  <a:pt x="343282" y="195355"/>
                  <a:pt x="343282" y="195355"/>
                </a:cubicBezTo>
                <a:lnTo>
                  <a:pt x="345098" y="195657"/>
                </a:lnTo>
                <a:lnTo>
                  <a:pt x="343686" y="195758"/>
                </a:lnTo>
                <a:cubicBezTo>
                  <a:pt x="344493" y="195758"/>
                  <a:pt x="344896" y="195758"/>
                  <a:pt x="345703" y="195758"/>
                </a:cubicBezTo>
                <a:lnTo>
                  <a:pt x="345098" y="195657"/>
                </a:lnTo>
                <a:lnTo>
                  <a:pt x="349334" y="195355"/>
                </a:lnTo>
                <a:cubicBezTo>
                  <a:pt x="349334" y="195355"/>
                  <a:pt x="349738" y="195758"/>
                  <a:pt x="349738" y="195758"/>
                </a:cubicBezTo>
                <a:cubicBezTo>
                  <a:pt x="349738" y="195758"/>
                  <a:pt x="349334" y="195758"/>
                  <a:pt x="349334" y="195758"/>
                </a:cubicBezTo>
                <a:cubicBezTo>
                  <a:pt x="349738" y="196161"/>
                  <a:pt x="350545" y="196161"/>
                  <a:pt x="350948" y="196161"/>
                </a:cubicBezTo>
                <a:cubicBezTo>
                  <a:pt x="351755" y="196161"/>
                  <a:pt x="352159" y="196161"/>
                  <a:pt x="352965" y="196161"/>
                </a:cubicBezTo>
                <a:cubicBezTo>
                  <a:pt x="352159" y="195355"/>
                  <a:pt x="350948" y="195355"/>
                  <a:pt x="349738" y="195355"/>
                </a:cubicBezTo>
                <a:cubicBezTo>
                  <a:pt x="350141" y="195355"/>
                  <a:pt x="350141" y="195355"/>
                  <a:pt x="350141" y="195355"/>
                </a:cubicBezTo>
                <a:cubicBezTo>
                  <a:pt x="350141" y="194952"/>
                  <a:pt x="349738" y="194952"/>
                  <a:pt x="349334" y="194952"/>
                </a:cubicBezTo>
                <a:cubicBezTo>
                  <a:pt x="351352" y="194952"/>
                  <a:pt x="354579" y="194550"/>
                  <a:pt x="354983" y="194550"/>
                </a:cubicBezTo>
                <a:cubicBezTo>
                  <a:pt x="353369" y="193744"/>
                  <a:pt x="350141" y="194147"/>
                  <a:pt x="347720" y="194147"/>
                </a:cubicBezTo>
                <a:cubicBezTo>
                  <a:pt x="347317" y="194147"/>
                  <a:pt x="346914" y="194147"/>
                  <a:pt x="346510" y="194147"/>
                </a:cubicBezTo>
                <a:cubicBezTo>
                  <a:pt x="346914" y="194550"/>
                  <a:pt x="347720" y="194550"/>
                  <a:pt x="348124" y="194550"/>
                </a:cubicBezTo>
                <a:lnTo>
                  <a:pt x="346510" y="194550"/>
                </a:lnTo>
                <a:cubicBezTo>
                  <a:pt x="346510" y="194147"/>
                  <a:pt x="344089" y="193744"/>
                  <a:pt x="345300" y="194550"/>
                </a:cubicBezTo>
                <a:cubicBezTo>
                  <a:pt x="344896" y="194550"/>
                  <a:pt x="343282" y="194550"/>
                  <a:pt x="343686" y="194550"/>
                </a:cubicBezTo>
                <a:cubicBezTo>
                  <a:pt x="343686" y="194550"/>
                  <a:pt x="343282" y="194550"/>
                  <a:pt x="342879" y="194550"/>
                </a:cubicBezTo>
                <a:cubicBezTo>
                  <a:pt x="342879" y="194147"/>
                  <a:pt x="343282" y="194147"/>
                  <a:pt x="343282" y="194147"/>
                </a:cubicBezTo>
                <a:cubicBezTo>
                  <a:pt x="342476" y="194147"/>
                  <a:pt x="341669" y="194147"/>
                  <a:pt x="341265" y="194147"/>
                </a:cubicBezTo>
                <a:close/>
                <a:moveTo>
                  <a:pt x="302936" y="194147"/>
                </a:moveTo>
                <a:cubicBezTo>
                  <a:pt x="296481" y="194147"/>
                  <a:pt x="289622" y="193744"/>
                  <a:pt x="283570" y="195355"/>
                </a:cubicBezTo>
                <a:lnTo>
                  <a:pt x="282764" y="195355"/>
                </a:lnTo>
                <a:cubicBezTo>
                  <a:pt x="283167" y="195758"/>
                  <a:pt x="283570" y="195758"/>
                  <a:pt x="283974" y="195758"/>
                </a:cubicBezTo>
                <a:cubicBezTo>
                  <a:pt x="283167" y="195758"/>
                  <a:pt x="280746" y="195355"/>
                  <a:pt x="280746" y="195758"/>
                </a:cubicBezTo>
                <a:cubicBezTo>
                  <a:pt x="280343" y="195758"/>
                  <a:pt x="280746" y="196161"/>
                  <a:pt x="280746" y="196161"/>
                </a:cubicBezTo>
                <a:cubicBezTo>
                  <a:pt x="279939" y="195758"/>
                  <a:pt x="279536" y="195758"/>
                  <a:pt x="279132" y="196161"/>
                </a:cubicBezTo>
                <a:cubicBezTo>
                  <a:pt x="278325" y="196161"/>
                  <a:pt x="271870" y="196564"/>
                  <a:pt x="271467" y="197772"/>
                </a:cubicBezTo>
                <a:cubicBezTo>
                  <a:pt x="271870" y="197772"/>
                  <a:pt x="272274" y="198175"/>
                  <a:pt x="272677" y="197772"/>
                </a:cubicBezTo>
                <a:cubicBezTo>
                  <a:pt x="271870" y="198980"/>
                  <a:pt x="269046" y="198175"/>
                  <a:pt x="268642" y="199383"/>
                </a:cubicBezTo>
                <a:cubicBezTo>
                  <a:pt x="268239" y="199786"/>
                  <a:pt x="271063" y="199383"/>
                  <a:pt x="271467" y="199383"/>
                </a:cubicBezTo>
                <a:cubicBezTo>
                  <a:pt x="270660" y="200189"/>
                  <a:pt x="269046" y="199383"/>
                  <a:pt x="268642" y="200189"/>
                </a:cubicBezTo>
                <a:lnTo>
                  <a:pt x="269449" y="200189"/>
                </a:lnTo>
                <a:cubicBezTo>
                  <a:pt x="269853" y="200591"/>
                  <a:pt x="270256" y="200591"/>
                  <a:pt x="270660" y="200591"/>
                </a:cubicBezTo>
                <a:cubicBezTo>
                  <a:pt x="271870" y="200189"/>
                  <a:pt x="276308" y="200189"/>
                  <a:pt x="275501" y="202202"/>
                </a:cubicBezTo>
                <a:cubicBezTo>
                  <a:pt x="275905" y="202202"/>
                  <a:pt x="275905" y="202605"/>
                  <a:pt x="275501" y="203008"/>
                </a:cubicBezTo>
                <a:cubicBezTo>
                  <a:pt x="275905" y="203008"/>
                  <a:pt x="277115" y="203813"/>
                  <a:pt x="277519" y="203813"/>
                </a:cubicBezTo>
                <a:cubicBezTo>
                  <a:pt x="277115" y="204216"/>
                  <a:pt x="276308" y="203411"/>
                  <a:pt x="275501" y="203813"/>
                </a:cubicBezTo>
                <a:cubicBezTo>
                  <a:pt x="275501" y="203813"/>
                  <a:pt x="277115" y="204216"/>
                  <a:pt x="277519" y="204216"/>
                </a:cubicBezTo>
                <a:cubicBezTo>
                  <a:pt x="277115" y="205022"/>
                  <a:pt x="275501" y="205022"/>
                  <a:pt x="275098" y="206230"/>
                </a:cubicBezTo>
                <a:cubicBezTo>
                  <a:pt x="275098" y="206230"/>
                  <a:pt x="275501" y="206230"/>
                  <a:pt x="275501" y="206230"/>
                </a:cubicBezTo>
                <a:cubicBezTo>
                  <a:pt x="274694" y="207438"/>
                  <a:pt x="275905" y="207438"/>
                  <a:pt x="276308" y="207841"/>
                </a:cubicBezTo>
                <a:cubicBezTo>
                  <a:pt x="274694" y="208647"/>
                  <a:pt x="279536" y="211063"/>
                  <a:pt x="279939" y="211063"/>
                </a:cubicBezTo>
                <a:cubicBezTo>
                  <a:pt x="281150" y="211063"/>
                  <a:pt x="283167" y="207036"/>
                  <a:pt x="285184" y="206633"/>
                </a:cubicBezTo>
                <a:cubicBezTo>
                  <a:pt x="285184" y="207036"/>
                  <a:pt x="285184" y="207036"/>
                  <a:pt x="285184" y="207036"/>
                </a:cubicBezTo>
                <a:cubicBezTo>
                  <a:pt x="287202" y="207036"/>
                  <a:pt x="288412" y="205827"/>
                  <a:pt x="290026" y="205425"/>
                </a:cubicBezTo>
                <a:cubicBezTo>
                  <a:pt x="292850" y="205425"/>
                  <a:pt x="295674" y="205022"/>
                  <a:pt x="298498" y="204216"/>
                </a:cubicBezTo>
                <a:cubicBezTo>
                  <a:pt x="297692" y="204216"/>
                  <a:pt x="294867" y="204216"/>
                  <a:pt x="295271" y="203813"/>
                </a:cubicBezTo>
                <a:cubicBezTo>
                  <a:pt x="296078" y="203411"/>
                  <a:pt x="295674" y="203411"/>
                  <a:pt x="295674" y="203008"/>
                </a:cubicBezTo>
                <a:cubicBezTo>
                  <a:pt x="296078" y="203008"/>
                  <a:pt x="299305" y="204216"/>
                  <a:pt x="299305" y="203813"/>
                </a:cubicBezTo>
                <a:cubicBezTo>
                  <a:pt x="299709" y="202605"/>
                  <a:pt x="297288" y="202202"/>
                  <a:pt x="296885" y="201800"/>
                </a:cubicBezTo>
                <a:cubicBezTo>
                  <a:pt x="296885" y="200994"/>
                  <a:pt x="298902" y="203411"/>
                  <a:pt x="299305" y="201800"/>
                </a:cubicBezTo>
                <a:cubicBezTo>
                  <a:pt x="298902" y="201800"/>
                  <a:pt x="298498" y="201397"/>
                  <a:pt x="297692" y="201397"/>
                </a:cubicBezTo>
                <a:cubicBezTo>
                  <a:pt x="298902" y="200994"/>
                  <a:pt x="300516" y="201800"/>
                  <a:pt x="301323" y="200994"/>
                </a:cubicBezTo>
                <a:cubicBezTo>
                  <a:pt x="300919" y="200994"/>
                  <a:pt x="300919" y="200994"/>
                  <a:pt x="300919" y="200591"/>
                </a:cubicBezTo>
                <a:cubicBezTo>
                  <a:pt x="301726" y="200591"/>
                  <a:pt x="302130" y="200591"/>
                  <a:pt x="302533" y="200189"/>
                </a:cubicBezTo>
                <a:cubicBezTo>
                  <a:pt x="302130" y="200189"/>
                  <a:pt x="301726" y="200189"/>
                  <a:pt x="301323" y="200189"/>
                </a:cubicBezTo>
                <a:cubicBezTo>
                  <a:pt x="301323" y="199383"/>
                  <a:pt x="302533" y="200189"/>
                  <a:pt x="302533" y="199383"/>
                </a:cubicBezTo>
                <a:cubicBezTo>
                  <a:pt x="302936" y="198980"/>
                  <a:pt x="301323" y="198980"/>
                  <a:pt x="301323" y="198980"/>
                </a:cubicBezTo>
                <a:cubicBezTo>
                  <a:pt x="301726" y="197772"/>
                  <a:pt x="304147" y="198980"/>
                  <a:pt x="304550" y="198175"/>
                </a:cubicBezTo>
                <a:cubicBezTo>
                  <a:pt x="304147" y="198175"/>
                  <a:pt x="303743" y="197772"/>
                  <a:pt x="303340" y="197772"/>
                </a:cubicBezTo>
                <a:lnTo>
                  <a:pt x="301726" y="197772"/>
                </a:lnTo>
                <a:cubicBezTo>
                  <a:pt x="302533" y="197369"/>
                  <a:pt x="307375" y="196161"/>
                  <a:pt x="307778" y="195355"/>
                </a:cubicBezTo>
                <a:cubicBezTo>
                  <a:pt x="308988" y="195355"/>
                  <a:pt x="311813" y="195355"/>
                  <a:pt x="311813" y="194550"/>
                </a:cubicBezTo>
                <a:cubicBezTo>
                  <a:pt x="312216" y="194550"/>
                  <a:pt x="300112" y="195758"/>
                  <a:pt x="299305" y="196161"/>
                </a:cubicBezTo>
                <a:cubicBezTo>
                  <a:pt x="299709" y="195758"/>
                  <a:pt x="302130" y="194952"/>
                  <a:pt x="302130" y="194952"/>
                </a:cubicBezTo>
                <a:cubicBezTo>
                  <a:pt x="302130" y="194952"/>
                  <a:pt x="301726" y="194952"/>
                  <a:pt x="300919" y="194952"/>
                </a:cubicBezTo>
                <a:cubicBezTo>
                  <a:pt x="301726" y="194952"/>
                  <a:pt x="302533" y="194550"/>
                  <a:pt x="302936" y="194147"/>
                </a:cubicBezTo>
                <a:close/>
                <a:moveTo>
                  <a:pt x="268037" y="194097"/>
                </a:moveTo>
                <a:lnTo>
                  <a:pt x="261262" y="195394"/>
                </a:lnTo>
                <a:lnTo>
                  <a:pt x="261380" y="195355"/>
                </a:lnTo>
                <a:cubicBezTo>
                  <a:pt x="260573" y="195758"/>
                  <a:pt x="260170" y="195758"/>
                  <a:pt x="259363" y="195758"/>
                </a:cubicBezTo>
                <a:lnTo>
                  <a:pt x="261262" y="195394"/>
                </a:lnTo>
                <a:lnTo>
                  <a:pt x="260170" y="195758"/>
                </a:lnTo>
                <a:lnTo>
                  <a:pt x="260573" y="195758"/>
                </a:lnTo>
                <a:lnTo>
                  <a:pt x="261784" y="195758"/>
                </a:lnTo>
                <a:cubicBezTo>
                  <a:pt x="261380" y="195758"/>
                  <a:pt x="260977" y="196161"/>
                  <a:pt x="260977" y="196161"/>
                </a:cubicBezTo>
                <a:cubicBezTo>
                  <a:pt x="260977" y="196161"/>
                  <a:pt x="261784" y="196161"/>
                  <a:pt x="262591" y="196161"/>
                </a:cubicBezTo>
                <a:cubicBezTo>
                  <a:pt x="262994" y="196564"/>
                  <a:pt x="262591" y="196564"/>
                  <a:pt x="261784" y="196564"/>
                </a:cubicBezTo>
                <a:cubicBezTo>
                  <a:pt x="262187" y="196564"/>
                  <a:pt x="262994" y="196966"/>
                  <a:pt x="262994" y="196966"/>
                </a:cubicBezTo>
                <a:cubicBezTo>
                  <a:pt x="261380" y="198175"/>
                  <a:pt x="260977" y="196966"/>
                  <a:pt x="260170" y="197369"/>
                </a:cubicBezTo>
                <a:cubicBezTo>
                  <a:pt x="260573" y="196966"/>
                  <a:pt x="260977" y="196966"/>
                  <a:pt x="260170" y="196966"/>
                </a:cubicBezTo>
                <a:lnTo>
                  <a:pt x="256818" y="196595"/>
                </a:lnTo>
                <a:lnTo>
                  <a:pt x="256942" y="196564"/>
                </a:lnTo>
                <a:cubicBezTo>
                  <a:pt x="256539" y="196564"/>
                  <a:pt x="256135" y="196564"/>
                  <a:pt x="256539" y="196564"/>
                </a:cubicBezTo>
                <a:lnTo>
                  <a:pt x="256818" y="196595"/>
                </a:lnTo>
                <a:lnTo>
                  <a:pt x="255328" y="196966"/>
                </a:lnTo>
                <a:cubicBezTo>
                  <a:pt x="254925" y="196966"/>
                  <a:pt x="254521" y="196966"/>
                  <a:pt x="254118" y="196966"/>
                </a:cubicBezTo>
                <a:cubicBezTo>
                  <a:pt x="254521" y="197369"/>
                  <a:pt x="254925" y="197369"/>
                  <a:pt x="254925" y="197369"/>
                </a:cubicBezTo>
                <a:lnTo>
                  <a:pt x="256942" y="197369"/>
                </a:lnTo>
                <a:cubicBezTo>
                  <a:pt x="256135" y="197369"/>
                  <a:pt x="254925" y="197772"/>
                  <a:pt x="254118" y="197772"/>
                </a:cubicBezTo>
                <a:cubicBezTo>
                  <a:pt x="254521" y="198175"/>
                  <a:pt x="254521" y="198175"/>
                  <a:pt x="254925" y="198175"/>
                </a:cubicBezTo>
                <a:lnTo>
                  <a:pt x="255328" y="198175"/>
                </a:lnTo>
                <a:lnTo>
                  <a:pt x="258153" y="198175"/>
                </a:lnTo>
                <a:cubicBezTo>
                  <a:pt x="258153" y="197772"/>
                  <a:pt x="258153" y="197772"/>
                  <a:pt x="258153" y="197772"/>
                </a:cubicBezTo>
                <a:cubicBezTo>
                  <a:pt x="258959" y="197772"/>
                  <a:pt x="260170" y="197369"/>
                  <a:pt x="260977" y="198175"/>
                </a:cubicBezTo>
                <a:cubicBezTo>
                  <a:pt x="260573" y="198175"/>
                  <a:pt x="256942" y="197772"/>
                  <a:pt x="258556" y="198577"/>
                </a:cubicBezTo>
                <a:cubicBezTo>
                  <a:pt x="258153" y="198577"/>
                  <a:pt x="257346" y="198577"/>
                  <a:pt x="256942" y="198980"/>
                </a:cubicBezTo>
                <a:cubicBezTo>
                  <a:pt x="259766" y="198577"/>
                  <a:pt x="264204" y="200189"/>
                  <a:pt x="266222" y="198175"/>
                </a:cubicBezTo>
                <a:cubicBezTo>
                  <a:pt x="266222" y="198175"/>
                  <a:pt x="265415" y="198175"/>
                  <a:pt x="265415" y="198175"/>
                </a:cubicBezTo>
                <a:cubicBezTo>
                  <a:pt x="265818" y="197772"/>
                  <a:pt x="266625" y="198175"/>
                  <a:pt x="267029" y="197369"/>
                </a:cubicBezTo>
                <a:cubicBezTo>
                  <a:pt x="268239" y="197369"/>
                  <a:pt x="269046" y="196966"/>
                  <a:pt x="269853" y="196966"/>
                </a:cubicBezTo>
                <a:cubicBezTo>
                  <a:pt x="269853" y="196564"/>
                  <a:pt x="269853" y="196564"/>
                  <a:pt x="269449" y="196564"/>
                </a:cubicBezTo>
                <a:lnTo>
                  <a:pt x="269853" y="196564"/>
                </a:lnTo>
                <a:cubicBezTo>
                  <a:pt x="272274" y="195758"/>
                  <a:pt x="275098" y="195758"/>
                  <a:pt x="277922" y="195355"/>
                </a:cubicBezTo>
                <a:cubicBezTo>
                  <a:pt x="277115" y="195355"/>
                  <a:pt x="276308" y="195355"/>
                  <a:pt x="276308" y="195355"/>
                </a:cubicBezTo>
                <a:cubicBezTo>
                  <a:pt x="276712" y="195355"/>
                  <a:pt x="279536" y="195355"/>
                  <a:pt x="279536" y="194952"/>
                </a:cubicBezTo>
                <a:cubicBezTo>
                  <a:pt x="279939" y="194550"/>
                  <a:pt x="275098" y="194952"/>
                  <a:pt x="276712" y="194550"/>
                </a:cubicBezTo>
                <a:cubicBezTo>
                  <a:pt x="274896" y="193946"/>
                  <a:pt x="271467" y="193845"/>
                  <a:pt x="268037" y="194097"/>
                </a:cubicBezTo>
                <a:close/>
                <a:moveTo>
                  <a:pt x="302936" y="178036"/>
                </a:moveTo>
                <a:cubicBezTo>
                  <a:pt x="327548" y="178036"/>
                  <a:pt x="350141" y="185286"/>
                  <a:pt x="369507" y="197369"/>
                </a:cubicBezTo>
                <a:cubicBezTo>
                  <a:pt x="367893" y="196564"/>
                  <a:pt x="365876" y="196161"/>
                  <a:pt x="364262" y="196161"/>
                </a:cubicBezTo>
                <a:cubicBezTo>
                  <a:pt x="364666" y="194952"/>
                  <a:pt x="361035" y="195355"/>
                  <a:pt x="361842" y="195758"/>
                </a:cubicBezTo>
                <a:cubicBezTo>
                  <a:pt x="360631" y="196161"/>
                  <a:pt x="358614" y="195355"/>
                  <a:pt x="357000" y="196161"/>
                </a:cubicBezTo>
                <a:lnTo>
                  <a:pt x="355790" y="196161"/>
                </a:lnTo>
                <a:cubicBezTo>
                  <a:pt x="356193" y="196161"/>
                  <a:pt x="356193" y="196161"/>
                  <a:pt x="356597" y="196564"/>
                </a:cubicBezTo>
                <a:lnTo>
                  <a:pt x="355386" y="196564"/>
                </a:lnTo>
                <a:lnTo>
                  <a:pt x="353772" y="196564"/>
                </a:lnTo>
                <a:cubicBezTo>
                  <a:pt x="353369" y="196564"/>
                  <a:pt x="352965" y="196564"/>
                  <a:pt x="352965" y="196966"/>
                </a:cubicBezTo>
                <a:cubicBezTo>
                  <a:pt x="353772" y="196966"/>
                  <a:pt x="354176" y="196564"/>
                  <a:pt x="355386" y="196564"/>
                </a:cubicBezTo>
                <a:cubicBezTo>
                  <a:pt x="354983" y="197369"/>
                  <a:pt x="347720" y="200189"/>
                  <a:pt x="346914" y="200189"/>
                </a:cubicBezTo>
                <a:cubicBezTo>
                  <a:pt x="347317" y="200591"/>
                  <a:pt x="347317" y="200591"/>
                  <a:pt x="348124" y="200591"/>
                </a:cubicBezTo>
                <a:cubicBezTo>
                  <a:pt x="346510" y="200591"/>
                  <a:pt x="340458" y="201800"/>
                  <a:pt x="343686" y="203813"/>
                </a:cubicBezTo>
                <a:cubicBezTo>
                  <a:pt x="343282" y="203813"/>
                  <a:pt x="342879" y="204216"/>
                  <a:pt x="342879" y="204619"/>
                </a:cubicBezTo>
                <a:cubicBezTo>
                  <a:pt x="343282" y="204216"/>
                  <a:pt x="343282" y="204216"/>
                  <a:pt x="344089" y="204619"/>
                </a:cubicBezTo>
                <a:cubicBezTo>
                  <a:pt x="344089" y="205022"/>
                  <a:pt x="343282" y="204619"/>
                  <a:pt x="343282" y="205022"/>
                </a:cubicBezTo>
                <a:cubicBezTo>
                  <a:pt x="343686" y="206633"/>
                  <a:pt x="348124" y="205827"/>
                  <a:pt x="348931" y="205425"/>
                </a:cubicBezTo>
                <a:cubicBezTo>
                  <a:pt x="350141" y="204216"/>
                  <a:pt x="350545" y="205425"/>
                  <a:pt x="351755" y="206633"/>
                </a:cubicBezTo>
                <a:cubicBezTo>
                  <a:pt x="352159" y="207438"/>
                  <a:pt x="353369" y="210258"/>
                  <a:pt x="354176" y="210258"/>
                </a:cubicBezTo>
                <a:cubicBezTo>
                  <a:pt x="354983" y="210258"/>
                  <a:pt x="358614" y="209452"/>
                  <a:pt x="358614" y="208244"/>
                </a:cubicBezTo>
                <a:cubicBezTo>
                  <a:pt x="355790" y="207438"/>
                  <a:pt x="360631" y="205827"/>
                  <a:pt x="360631" y="205425"/>
                </a:cubicBezTo>
                <a:cubicBezTo>
                  <a:pt x="360228" y="203813"/>
                  <a:pt x="358210" y="204216"/>
                  <a:pt x="357807" y="202605"/>
                </a:cubicBezTo>
                <a:cubicBezTo>
                  <a:pt x="357807" y="201397"/>
                  <a:pt x="362648" y="201800"/>
                  <a:pt x="362245" y="200591"/>
                </a:cubicBezTo>
                <a:cubicBezTo>
                  <a:pt x="362648" y="200189"/>
                  <a:pt x="366280" y="198175"/>
                  <a:pt x="367087" y="200189"/>
                </a:cubicBezTo>
                <a:cubicBezTo>
                  <a:pt x="367087" y="200591"/>
                  <a:pt x="362648" y="202202"/>
                  <a:pt x="362245" y="202202"/>
                </a:cubicBezTo>
                <a:cubicBezTo>
                  <a:pt x="362648" y="202605"/>
                  <a:pt x="362648" y="203411"/>
                  <a:pt x="363455" y="203411"/>
                </a:cubicBezTo>
                <a:cubicBezTo>
                  <a:pt x="361842" y="205827"/>
                  <a:pt x="372735" y="205425"/>
                  <a:pt x="373542" y="206230"/>
                </a:cubicBezTo>
                <a:cubicBezTo>
                  <a:pt x="371121" y="207036"/>
                  <a:pt x="368700" y="205425"/>
                  <a:pt x="366683" y="206633"/>
                </a:cubicBezTo>
                <a:cubicBezTo>
                  <a:pt x="365876" y="207036"/>
                  <a:pt x="368297" y="207841"/>
                  <a:pt x="368297" y="208647"/>
                </a:cubicBezTo>
                <a:cubicBezTo>
                  <a:pt x="368297" y="207841"/>
                  <a:pt x="362648" y="209049"/>
                  <a:pt x="363455" y="211869"/>
                </a:cubicBezTo>
                <a:cubicBezTo>
                  <a:pt x="362648" y="211869"/>
                  <a:pt x="362245" y="211869"/>
                  <a:pt x="361438" y="211869"/>
                </a:cubicBezTo>
                <a:cubicBezTo>
                  <a:pt x="361438" y="211869"/>
                  <a:pt x="361842" y="211869"/>
                  <a:pt x="361842" y="211466"/>
                </a:cubicBezTo>
                <a:cubicBezTo>
                  <a:pt x="360228" y="211063"/>
                  <a:pt x="354579" y="213077"/>
                  <a:pt x="354983" y="211466"/>
                </a:cubicBezTo>
                <a:cubicBezTo>
                  <a:pt x="353369" y="211063"/>
                  <a:pt x="351755" y="211063"/>
                  <a:pt x="350141" y="211063"/>
                </a:cubicBezTo>
                <a:cubicBezTo>
                  <a:pt x="349738" y="211466"/>
                  <a:pt x="350141" y="211063"/>
                  <a:pt x="350141" y="210258"/>
                </a:cubicBezTo>
                <a:cubicBezTo>
                  <a:pt x="350545" y="210258"/>
                  <a:pt x="350948" y="210258"/>
                  <a:pt x="350948" y="210661"/>
                </a:cubicBezTo>
                <a:cubicBezTo>
                  <a:pt x="351352" y="209855"/>
                  <a:pt x="350948" y="209855"/>
                  <a:pt x="350141" y="209452"/>
                </a:cubicBezTo>
                <a:cubicBezTo>
                  <a:pt x="350545" y="209049"/>
                  <a:pt x="350545" y="208647"/>
                  <a:pt x="350545" y="208647"/>
                </a:cubicBezTo>
                <a:cubicBezTo>
                  <a:pt x="350545" y="208244"/>
                  <a:pt x="350141" y="207841"/>
                  <a:pt x="350141" y="207036"/>
                </a:cubicBezTo>
                <a:cubicBezTo>
                  <a:pt x="346914" y="208244"/>
                  <a:pt x="346914" y="208244"/>
                  <a:pt x="348527" y="211063"/>
                </a:cubicBezTo>
                <a:cubicBezTo>
                  <a:pt x="349334" y="212272"/>
                  <a:pt x="346510" y="211869"/>
                  <a:pt x="345703" y="211869"/>
                </a:cubicBezTo>
                <a:cubicBezTo>
                  <a:pt x="342879" y="211869"/>
                  <a:pt x="343282" y="214286"/>
                  <a:pt x="340862" y="214688"/>
                </a:cubicBezTo>
                <a:cubicBezTo>
                  <a:pt x="338037" y="215091"/>
                  <a:pt x="337634" y="216299"/>
                  <a:pt x="334406" y="216299"/>
                </a:cubicBezTo>
                <a:cubicBezTo>
                  <a:pt x="334406" y="216702"/>
                  <a:pt x="334810" y="217105"/>
                  <a:pt x="334810" y="217508"/>
                </a:cubicBezTo>
                <a:cubicBezTo>
                  <a:pt x="334406" y="217508"/>
                  <a:pt x="330372" y="216702"/>
                  <a:pt x="330372" y="217508"/>
                </a:cubicBezTo>
                <a:cubicBezTo>
                  <a:pt x="330372" y="219119"/>
                  <a:pt x="337231" y="219924"/>
                  <a:pt x="335617" y="222341"/>
                </a:cubicBezTo>
                <a:cubicBezTo>
                  <a:pt x="336020" y="225563"/>
                  <a:pt x="334810" y="224758"/>
                  <a:pt x="332389" y="225160"/>
                </a:cubicBezTo>
                <a:cubicBezTo>
                  <a:pt x="329968" y="224758"/>
                  <a:pt x="327951" y="224355"/>
                  <a:pt x="325530" y="224355"/>
                </a:cubicBezTo>
                <a:cubicBezTo>
                  <a:pt x="323109" y="223952"/>
                  <a:pt x="323916" y="225563"/>
                  <a:pt x="323916" y="226771"/>
                </a:cubicBezTo>
                <a:cubicBezTo>
                  <a:pt x="323916" y="227980"/>
                  <a:pt x="322303" y="234424"/>
                  <a:pt x="324320" y="234827"/>
                </a:cubicBezTo>
                <a:cubicBezTo>
                  <a:pt x="326337" y="234827"/>
                  <a:pt x="327144" y="234021"/>
                  <a:pt x="328354" y="236035"/>
                </a:cubicBezTo>
                <a:cubicBezTo>
                  <a:pt x="329161" y="237646"/>
                  <a:pt x="332389" y="235230"/>
                  <a:pt x="334003" y="236035"/>
                </a:cubicBezTo>
                <a:cubicBezTo>
                  <a:pt x="335617" y="235230"/>
                  <a:pt x="336827" y="234021"/>
                  <a:pt x="338037" y="232813"/>
                </a:cubicBezTo>
                <a:cubicBezTo>
                  <a:pt x="334810" y="231605"/>
                  <a:pt x="342072" y="227980"/>
                  <a:pt x="342476" y="227980"/>
                </a:cubicBezTo>
                <a:cubicBezTo>
                  <a:pt x="340862" y="224355"/>
                  <a:pt x="346107" y="227174"/>
                  <a:pt x="348124" y="226369"/>
                </a:cubicBezTo>
                <a:cubicBezTo>
                  <a:pt x="351352" y="224758"/>
                  <a:pt x="351755" y="225563"/>
                  <a:pt x="354176" y="228383"/>
                </a:cubicBezTo>
                <a:cubicBezTo>
                  <a:pt x="353772" y="227174"/>
                  <a:pt x="365069" y="236035"/>
                  <a:pt x="361842" y="235633"/>
                </a:cubicBezTo>
                <a:cubicBezTo>
                  <a:pt x="361842" y="237244"/>
                  <a:pt x="363859" y="234424"/>
                  <a:pt x="363859" y="234827"/>
                </a:cubicBezTo>
                <a:cubicBezTo>
                  <a:pt x="363455" y="232008"/>
                  <a:pt x="362245" y="232410"/>
                  <a:pt x="365473" y="233216"/>
                </a:cubicBezTo>
                <a:cubicBezTo>
                  <a:pt x="365473" y="231202"/>
                  <a:pt x="361842" y="231605"/>
                  <a:pt x="361438" y="229994"/>
                </a:cubicBezTo>
                <a:cubicBezTo>
                  <a:pt x="359421" y="229591"/>
                  <a:pt x="355386" y="226369"/>
                  <a:pt x="354983" y="223952"/>
                </a:cubicBezTo>
                <a:cubicBezTo>
                  <a:pt x="354983" y="222744"/>
                  <a:pt x="362245" y="227577"/>
                  <a:pt x="362648" y="227577"/>
                </a:cubicBezTo>
                <a:cubicBezTo>
                  <a:pt x="363052" y="229188"/>
                  <a:pt x="366683" y="229591"/>
                  <a:pt x="367087" y="232410"/>
                </a:cubicBezTo>
                <a:cubicBezTo>
                  <a:pt x="367087" y="233619"/>
                  <a:pt x="370314" y="236438"/>
                  <a:pt x="371525" y="236841"/>
                </a:cubicBezTo>
                <a:cubicBezTo>
                  <a:pt x="370718" y="238452"/>
                  <a:pt x="371928" y="239257"/>
                  <a:pt x="373945" y="239257"/>
                </a:cubicBezTo>
                <a:cubicBezTo>
                  <a:pt x="373542" y="239257"/>
                  <a:pt x="373138" y="237244"/>
                  <a:pt x="372735" y="236841"/>
                </a:cubicBezTo>
                <a:cubicBezTo>
                  <a:pt x="373542" y="237646"/>
                  <a:pt x="374349" y="238049"/>
                  <a:pt x="375559" y="237646"/>
                </a:cubicBezTo>
                <a:cubicBezTo>
                  <a:pt x="373945" y="236438"/>
                  <a:pt x="373138" y="235230"/>
                  <a:pt x="371928" y="234021"/>
                </a:cubicBezTo>
                <a:cubicBezTo>
                  <a:pt x="371525" y="232813"/>
                  <a:pt x="373945" y="234424"/>
                  <a:pt x="373945" y="234424"/>
                </a:cubicBezTo>
                <a:cubicBezTo>
                  <a:pt x="373945" y="233619"/>
                  <a:pt x="373945" y="233619"/>
                  <a:pt x="373542" y="233216"/>
                </a:cubicBezTo>
                <a:cubicBezTo>
                  <a:pt x="374752" y="232813"/>
                  <a:pt x="375156" y="232410"/>
                  <a:pt x="376366" y="233216"/>
                </a:cubicBezTo>
                <a:cubicBezTo>
                  <a:pt x="378383" y="234424"/>
                  <a:pt x="377980" y="232813"/>
                  <a:pt x="379594" y="233216"/>
                </a:cubicBezTo>
                <a:cubicBezTo>
                  <a:pt x="379594" y="233216"/>
                  <a:pt x="379997" y="233619"/>
                  <a:pt x="380401" y="233619"/>
                </a:cubicBezTo>
                <a:cubicBezTo>
                  <a:pt x="379594" y="234021"/>
                  <a:pt x="375559" y="233216"/>
                  <a:pt x="375559" y="234827"/>
                </a:cubicBezTo>
                <a:cubicBezTo>
                  <a:pt x="375963" y="236035"/>
                  <a:pt x="377576" y="235230"/>
                  <a:pt x="375963" y="237244"/>
                </a:cubicBezTo>
                <a:cubicBezTo>
                  <a:pt x="377576" y="238049"/>
                  <a:pt x="378383" y="238855"/>
                  <a:pt x="379997" y="240063"/>
                </a:cubicBezTo>
                <a:cubicBezTo>
                  <a:pt x="379594" y="240063"/>
                  <a:pt x="379594" y="240063"/>
                  <a:pt x="379594" y="240466"/>
                </a:cubicBezTo>
                <a:cubicBezTo>
                  <a:pt x="384032" y="240869"/>
                  <a:pt x="387663" y="242480"/>
                  <a:pt x="392101" y="241271"/>
                </a:cubicBezTo>
                <a:cubicBezTo>
                  <a:pt x="392504" y="243285"/>
                  <a:pt x="392101" y="244896"/>
                  <a:pt x="392101" y="246910"/>
                </a:cubicBezTo>
                <a:cubicBezTo>
                  <a:pt x="392101" y="247716"/>
                  <a:pt x="392101" y="249730"/>
                  <a:pt x="391698" y="250132"/>
                </a:cubicBezTo>
                <a:cubicBezTo>
                  <a:pt x="391294" y="250132"/>
                  <a:pt x="393311" y="254160"/>
                  <a:pt x="393715" y="254966"/>
                </a:cubicBezTo>
                <a:cubicBezTo>
                  <a:pt x="393715" y="260202"/>
                  <a:pt x="401784" y="263424"/>
                  <a:pt x="402994" y="268257"/>
                </a:cubicBezTo>
                <a:cubicBezTo>
                  <a:pt x="403801" y="271479"/>
                  <a:pt x="406222" y="273090"/>
                  <a:pt x="407836" y="275507"/>
                </a:cubicBezTo>
                <a:cubicBezTo>
                  <a:pt x="410257" y="278729"/>
                  <a:pt x="411064" y="281146"/>
                  <a:pt x="413081" y="284368"/>
                </a:cubicBezTo>
                <a:cubicBezTo>
                  <a:pt x="414695" y="287590"/>
                  <a:pt x="416511" y="287892"/>
                  <a:pt x="418578" y="287187"/>
                </a:cubicBezTo>
                <a:lnTo>
                  <a:pt x="423260" y="285035"/>
                </a:lnTo>
                <a:lnTo>
                  <a:pt x="427202" y="302090"/>
                </a:lnTo>
                <a:cubicBezTo>
                  <a:pt x="427202" y="322631"/>
                  <a:pt x="421957" y="341965"/>
                  <a:pt x="413081" y="359284"/>
                </a:cubicBezTo>
                <a:cubicBezTo>
                  <a:pt x="412677" y="359687"/>
                  <a:pt x="411871" y="360492"/>
                  <a:pt x="411871" y="361700"/>
                </a:cubicBezTo>
                <a:lnTo>
                  <a:pt x="386097" y="388589"/>
                </a:lnTo>
                <a:lnTo>
                  <a:pt x="386856" y="387478"/>
                </a:lnTo>
                <a:cubicBezTo>
                  <a:pt x="389277" y="384256"/>
                  <a:pt x="386453" y="382242"/>
                  <a:pt x="389277" y="379422"/>
                </a:cubicBezTo>
                <a:cubicBezTo>
                  <a:pt x="392101" y="377006"/>
                  <a:pt x="393311" y="378214"/>
                  <a:pt x="393311" y="373381"/>
                </a:cubicBezTo>
                <a:cubicBezTo>
                  <a:pt x="393311" y="371367"/>
                  <a:pt x="389680" y="366936"/>
                  <a:pt x="393715" y="366131"/>
                </a:cubicBezTo>
                <a:cubicBezTo>
                  <a:pt x="394118" y="363311"/>
                  <a:pt x="396943" y="361700"/>
                  <a:pt x="399363" y="360492"/>
                </a:cubicBezTo>
                <a:cubicBezTo>
                  <a:pt x="405415" y="356464"/>
                  <a:pt x="400574" y="351228"/>
                  <a:pt x="403398" y="345589"/>
                </a:cubicBezTo>
                <a:cubicBezTo>
                  <a:pt x="404205" y="343576"/>
                  <a:pt x="401381" y="341562"/>
                  <a:pt x="401381" y="339145"/>
                </a:cubicBezTo>
                <a:cubicBezTo>
                  <a:pt x="401381" y="337131"/>
                  <a:pt x="400574" y="335117"/>
                  <a:pt x="400574" y="333103"/>
                </a:cubicBezTo>
                <a:cubicBezTo>
                  <a:pt x="400977" y="331090"/>
                  <a:pt x="402591" y="329881"/>
                  <a:pt x="402994" y="328270"/>
                </a:cubicBezTo>
                <a:cubicBezTo>
                  <a:pt x="404608" y="321020"/>
                  <a:pt x="410660" y="319006"/>
                  <a:pt x="414291" y="313368"/>
                </a:cubicBezTo>
                <a:cubicBezTo>
                  <a:pt x="417922" y="308534"/>
                  <a:pt x="424378" y="297257"/>
                  <a:pt x="421554" y="291215"/>
                </a:cubicBezTo>
                <a:cubicBezTo>
                  <a:pt x="419536" y="292021"/>
                  <a:pt x="417116" y="293229"/>
                  <a:pt x="415098" y="294035"/>
                </a:cubicBezTo>
                <a:cubicBezTo>
                  <a:pt x="410660" y="294437"/>
                  <a:pt x="409046" y="296048"/>
                  <a:pt x="407836" y="290812"/>
                </a:cubicBezTo>
                <a:cubicBezTo>
                  <a:pt x="407029" y="287187"/>
                  <a:pt x="400977" y="284771"/>
                  <a:pt x="400170" y="281146"/>
                </a:cubicBezTo>
                <a:cubicBezTo>
                  <a:pt x="399767" y="278326"/>
                  <a:pt x="398960" y="277118"/>
                  <a:pt x="396943" y="275104"/>
                </a:cubicBezTo>
                <a:cubicBezTo>
                  <a:pt x="395329" y="273090"/>
                  <a:pt x="396136" y="269868"/>
                  <a:pt x="394522" y="267452"/>
                </a:cubicBezTo>
                <a:cubicBezTo>
                  <a:pt x="393311" y="265438"/>
                  <a:pt x="393311" y="263424"/>
                  <a:pt x="392101" y="261007"/>
                </a:cubicBezTo>
                <a:cubicBezTo>
                  <a:pt x="390487" y="257785"/>
                  <a:pt x="386856" y="253757"/>
                  <a:pt x="386856" y="250132"/>
                </a:cubicBezTo>
                <a:cubicBezTo>
                  <a:pt x="388066" y="251341"/>
                  <a:pt x="389277" y="254563"/>
                  <a:pt x="390487" y="254966"/>
                </a:cubicBezTo>
                <a:cubicBezTo>
                  <a:pt x="391294" y="251341"/>
                  <a:pt x="391294" y="250535"/>
                  <a:pt x="390084" y="246910"/>
                </a:cubicBezTo>
                <a:cubicBezTo>
                  <a:pt x="387663" y="247716"/>
                  <a:pt x="385646" y="246105"/>
                  <a:pt x="383628" y="246910"/>
                </a:cubicBezTo>
                <a:cubicBezTo>
                  <a:pt x="380401" y="248118"/>
                  <a:pt x="378383" y="247716"/>
                  <a:pt x="375156" y="246507"/>
                </a:cubicBezTo>
                <a:cubicBezTo>
                  <a:pt x="373138" y="246105"/>
                  <a:pt x="364666" y="240869"/>
                  <a:pt x="365069" y="246910"/>
                </a:cubicBezTo>
                <a:cubicBezTo>
                  <a:pt x="365069" y="253355"/>
                  <a:pt x="357000" y="244896"/>
                  <a:pt x="354983" y="244091"/>
                </a:cubicBezTo>
                <a:cubicBezTo>
                  <a:pt x="352965" y="243285"/>
                  <a:pt x="349334" y="244493"/>
                  <a:pt x="349334" y="240869"/>
                </a:cubicBezTo>
                <a:cubicBezTo>
                  <a:pt x="349334" y="238855"/>
                  <a:pt x="350141" y="237244"/>
                  <a:pt x="350141" y="235230"/>
                </a:cubicBezTo>
                <a:cubicBezTo>
                  <a:pt x="349738" y="235633"/>
                  <a:pt x="348931" y="235633"/>
                  <a:pt x="348527" y="234827"/>
                </a:cubicBezTo>
                <a:cubicBezTo>
                  <a:pt x="347720" y="233619"/>
                  <a:pt x="346107" y="235633"/>
                  <a:pt x="345300" y="235633"/>
                </a:cubicBezTo>
                <a:cubicBezTo>
                  <a:pt x="342879" y="235633"/>
                  <a:pt x="340862" y="235633"/>
                  <a:pt x="338844" y="235633"/>
                </a:cubicBezTo>
                <a:cubicBezTo>
                  <a:pt x="335617" y="235633"/>
                  <a:pt x="331986" y="237646"/>
                  <a:pt x="329161" y="239257"/>
                </a:cubicBezTo>
                <a:cubicBezTo>
                  <a:pt x="325934" y="241271"/>
                  <a:pt x="322706" y="238049"/>
                  <a:pt x="320689" y="240869"/>
                </a:cubicBezTo>
                <a:cubicBezTo>
                  <a:pt x="319075" y="243285"/>
                  <a:pt x="317058" y="245299"/>
                  <a:pt x="315444" y="247313"/>
                </a:cubicBezTo>
                <a:cubicBezTo>
                  <a:pt x="314233" y="248924"/>
                  <a:pt x="314637" y="251341"/>
                  <a:pt x="313830" y="252952"/>
                </a:cubicBezTo>
                <a:cubicBezTo>
                  <a:pt x="313426" y="254563"/>
                  <a:pt x="311409" y="256577"/>
                  <a:pt x="309795" y="256979"/>
                </a:cubicBezTo>
                <a:cubicBezTo>
                  <a:pt x="306971" y="258188"/>
                  <a:pt x="305761" y="261410"/>
                  <a:pt x="304550" y="263827"/>
                </a:cubicBezTo>
                <a:cubicBezTo>
                  <a:pt x="303743" y="266243"/>
                  <a:pt x="302936" y="268257"/>
                  <a:pt x="301726" y="270271"/>
                </a:cubicBezTo>
                <a:cubicBezTo>
                  <a:pt x="300112" y="273090"/>
                  <a:pt x="302130" y="277521"/>
                  <a:pt x="302130" y="280340"/>
                </a:cubicBezTo>
                <a:cubicBezTo>
                  <a:pt x="302130" y="282354"/>
                  <a:pt x="301323" y="284771"/>
                  <a:pt x="300112" y="286382"/>
                </a:cubicBezTo>
                <a:cubicBezTo>
                  <a:pt x="298902" y="288396"/>
                  <a:pt x="300516" y="290410"/>
                  <a:pt x="300516" y="292423"/>
                </a:cubicBezTo>
                <a:lnTo>
                  <a:pt x="300112" y="292423"/>
                </a:lnTo>
                <a:cubicBezTo>
                  <a:pt x="301323" y="294437"/>
                  <a:pt x="302533" y="296048"/>
                  <a:pt x="304147" y="297659"/>
                </a:cubicBezTo>
                <a:cubicBezTo>
                  <a:pt x="306568" y="300479"/>
                  <a:pt x="307375" y="304104"/>
                  <a:pt x="309795" y="306923"/>
                </a:cubicBezTo>
                <a:cubicBezTo>
                  <a:pt x="311813" y="308937"/>
                  <a:pt x="314233" y="312159"/>
                  <a:pt x="317864" y="310951"/>
                </a:cubicBezTo>
                <a:cubicBezTo>
                  <a:pt x="319075" y="310548"/>
                  <a:pt x="320285" y="309743"/>
                  <a:pt x="321899" y="309743"/>
                </a:cubicBezTo>
                <a:cubicBezTo>
                  <a:pt x="323513" y="309743"/>
                  <a:pt x="324320" y="310951"/>
                  <a:pt x="325934" y="310951"/>
                </a:cubicBezTo>
                <a:cubicBezTo>
                  <a:pt x="329161" y="310548"/>
                  <a:pt x="331986" y="306118"/>
                  <a:pt x="336020" y="306118"/>
                </a:cubicBezTo>
                <a:cubicBezTo>
                  <a:pt x="338844" y="306118"/>
                  <a:pt x="338441" y="310951"/>
                  <a:pt x="340862" y="310951"/>
                </a:cubicBezTo>
                <a:cubicBezTo>
                  <a:pt x="348931" y="310548"/>
                  <a:pt x="347720" y="316187"/>
                  <a:pt x="346107" y="321826"/>
                </a:cubicBezTo>
                <a:cubicBezTo>
                  <a:pt x="344493" y="325048"/>
                  <a:pt x="348124" y="328673"/>
                  <a:pt x="350141" y="331090"/>
                </a:cubicBezTo>
                <a:cubicBezTo>
                  <a:pt x="352159" y="333506"/>
                  <a:pt x="352159" y="337131"/>
                  <a:pt x="352965" y="340353"/>
                </a:cubicBezTo>
                <a:cubicBezTo>
                  <a:pt x="353772" y="342770"/>
                  <a:pt x="354983" y="347201"/>
                  <a:pt x="354579" y="350423"/>
                </a:cubicBezTo>
                <a:cubicBezTo>
                  <a:pt x="353772" y="353242"/>
                  <a:pt x="351352" y="355256"/>
                  <a:pt x="350948" y="358075"/>
                </a:cubicBezTo>
                <a:cubicBezTo>
                  <a:pt x="350141" y="362506"/>
                  <a:pt x="351755" y="366534"/>
                  <a:pt x="353369" y="370159"/>
                </a:cubicBezTo>
                <a:cubicBezTo>
                  <a:pt x="355386" y="373784"/>
                  <a:pt x="355386" y="374992"/>
                  <a:pt x="355790" y="379020"/>
                </a:cubicBezTo>
                <a:cubicBezTo>
                  <a:pt x="356597" y="387075"/>
                  <a:pt x="363052" y="393117"/>
                  <a:pt x="363052" y="401172"/>
                </a:cubicBezTo>
                <a:cubicBezTo>
                  <a:pt x="363859" y="400769"/>
                  <a:pt x="366280" y="402380"/>
                  <a:pt x="368700" y="401172"/>
                </a:cubicBezTo>
                <a:lnTo>
                  <a:pt x="374713" y="400466"/>
                </a:lnTo>
                <a:lnTo>
                  <a:pt x="367087" y="408422"/>
                </a:lnTo>
                <a:cubicBezTo>
                  <a:pt x="348326" y="419700"/>
                  <a:pt x="326337" y="426144"/>
                  <a:pt x="302936" y="426144"/>
                </a:cubicBezTo>
                <a:cubicBezTo>
                  <a:pt x="286395" y="426144"/>
                  <a:pt x="270660" y="422922"/>
                  <a:pt x="256539" y="417283"/>
                </a:cubicBezTo>
                <a:cubicBezTo>
                  <a:pt x="255732" y="415672"/>
                  <a:pt x="250083" y="414464"/>
                  <a:pt x="253311" y="412450"/>
                </a:cubicBezTo>
                <a:cubicBezTo>
                  <a:pt x="255732" y="411241"/>
                  <a:pt x="253714" y="408422"/>
                  <a:pt x="253311" y="407214"/>
                </a:cubicBezTo>
                <a:cubicBezTo>
                  <a:pt x="253714" y="407214"/>
                  <a:pt x="255732" y="408019"/>
                  <a:pt x="254925" y="406811"/>
                </a:cubicBezTo>
                <a:cubicBezTo>
                  <a:pt x="255328" y="407616"/>
                  <a:pt x="249680" y="404797"/>
                  <a:pt x="252101" y="404394"/>
                </a:cubicBezTo>
                <a:cubicBezTo>
                  <a:pt x="253311" y="403991"/>
                  <a:pt x="256135" y="404797"/>
                  <a:pt x="255328" y="402783"/>
                </a:cubicBezTo>
                <a:cubicBezTo>
                  <a:pt x="255328" y="401978"/>
                  <a:pt x="253311" y="399964"/>
                  <a:pt x="255328" y="399561"/>
                </a:cubicBezTo>
                <a:cubicBezTo>
                  <a:pt x="256942" y="399158"/>
                  <a:pt x="259363" y="398755"/>
                  <a:pt x="260170" y="397144"/>
                </a:cubicBezTo>
                <a:cubicBezTo>
                  <a:pt x="262187" y="392311"/>
                  <a:pt x="257749" y="393519"/>
                  <a:pt x="256539" y="390297"/>
                </a:cubicBezTo>
                <a:cubicBezTo>
                  <a:pt x="256942" y="391103"/>
                  <a:pt x="262994" y="390297"/>
                  <a:pt x="263397" y="388283"/>
                </a:cubicBezTo>
                <a:cubicBezTo>
                  <a:pt x="264204" y="385061"/>
                  <a:pt x="265415" y="382242"/>
                  <a:pt x="265818" y="379422"/>
                </a:cubicBezTo>
                <a:cubicBezTo>
                  <a:pt x="265818" y="378214"/>
                  <a:pt x="265818" y="377006"/>
                  <a:pt x="266625" y="376200"/>
                </a:cubicBezTo>
                <a:cubicBezTo>
                  <a:pt x="266222" y="374992"/>
                  <a:pt x="265818" y="373381"/>
                  <a:pt x="265415" y="372172"/>
                </a:cubicBezTo>
                <a:cubicBezTo>
                  <a:pt x="265415" y="370561"/>
                  <a:pt x="267432" y="368547"/>
                  <a:pt x="268642" y="367742"/>
                </a:cubicBezTo>
                <a:cubicBezTo>
                  <a:pt x="272677" y="364923"/>
                  <a:pt x="273484" y="363311"/>
                  <a:pt x="274694" y="358478"/>
                </a:cubicBezTo>
                <a:cubicBezTo>
                  <a:pt x="275098" y="356062"/>
                  <a:pt x="272274" y="349617"/>
                  <a:pt x="273080" y="348006"/>
                </a:cubicBezTo>
                <a:cubicBezTo>
                  <a:pt x="274291" y="345187"/>
                  <a:pt x="279536" y="335117"/>
                  <a:pt x="274291" y="333909"/>
                </a:cubicBezTo>
                <a:cubicBezTo>
                  <a:pt x="271467" y="333506"/>
                  <a:pt x="270256" y="331895"/>
                  <a:pt x="267836" y="331492"/>
                </a:cubicBezTo>
                <a:cubicBezTo>
                  <a:pt x="265415" y="330687"/>
                  <a:pt x="262591" y="331492"/>
                  <a:pt x="260573" y="331492"/>
                </a:cubicBezTo>
                <a:cubicBezTo>
                  <a:pt x="260170" y="329479"/>
                  <a:pt x="259363" y="329881"/>
                  <a:pt x="257749" y="329076"/>
                </a:cubicBezTo>
                <a:cubicBezTo>
                  <a:pt x="253311" y="327062"/>
                  <a:pt x="255328" y="331492"/>
                  <a:pt x="252908" y="331492"/>
                </a:cubicBezTo>
                <a:cubicBezTo>
                  <a:pt x="250890" y="331895"/>
                  <a:pt x="248066" y="328673"/>
                  <a:pt x="250083" y="326256"/>
                </a:cubicBezTo>
                <a:cubicBezTo>
                  <a:pt x="251294" y="324645"/>
                  <a:pt x="246856" y="318604"/>
                  <a:pt x="244435" y="318604"/>
                </a:cubicBezTo>
                <a:cubicBezTo>
                  <a:pt x="242014" y="319006"/>
                  <a:pt x="236366" y="318201"/>
                  <a:pt x="234752" y="316187"/>
                </a:cubicBezTo>
                <a:cubicBezTo>
                  <a:pt x="233945" y="314978"/>
                  <a:pt x="232029" y="314173"/>
                  <a:pt x="230213" y="313317"/>
                </a:cubicBezTo>
                <a:lnTo>
                  <a:pt x="226458" y="310290"/>
                </a:lnTo>
                <a:lnTo>
                  <a:pt x="227086" y="310145"/>
                </a:lnTo>
                <a:cubicBezTo>
                  <a:pt x="227086" y="310145"/>
                  <a:pt x="226683" y="310548"/>
                  <a:pt x="226279" y="310145"/>
                </a:cubicBezTo>
                <a:lnTo>
                  <a:pt x="226458" y="310290"/>
                </a:lnTo>
                <a:lnTo>
                  <a:pt x="221841" y="311354"/>
                </a:lnTo>
                <a:cubicBezTo>
                  <a:pt x="221034" y="310951"/>
                  <a:pt x="218210" y="311354"/>
                  <a:pt x="217403" y="310548"/>
                </a:cubicBezTo>
                <a:cubicBezTo>
                  <a:pt x="216596" y="309743"/>
                  <a:pt x="214982" y="308132"/>
                  <a:pt x="213369" y="308534"/>
                </a:cubicBezTo>
                <a:cubicBezTo>
                  <a:pt x="213772" y="308937"/>
                  <a:pt x="214579" y="308937"/>
                  <a:pt x="214579" y="309340"/>
                </a:cubicBezTo>
                <a:cubicBezTo>
                  <a:pt x="210544" y="309743"/>
                  <a:pt x="213772" y="313770"/>
                  <a:pt x="212965" y="314173"/>
                </a:cubicBezTo>
                <a:cubicBezTo>
                  <a:pt x="210948" y="314173"/>
                  <a:pt x="211351" y="310145"/>
                  <a:pt x="211351" y="309340"/>
                </a:cubicBezTo>
                <a:cubicBezTo>
                  <a:pt x="212158" y="308937"/>
                  <a:pt x="212158" y="308534"/>
                  <a:pt x="211755" y="308132"/>
                </a:cubicBezTo>
                <a:cubicBezTo>
                  <a:pt x="210948" y="307326"/>
                  <a:pt x="210544" y="308937"/>
                  <a:pt x="209737" y="309340"/>
                </a:cubicBezTo>
                <a:cubicBezTo>
                  <a:pt x="207317" y="310145"/>
                  <a:pt x="203282" y="312562"/>
                  <a:pt x="203685" y="316187"/>
                </a:cubicBezTo>
                <a:cubicBezTo>
                  <a:pt x="200458" y="317395"/>
                  <a:pt x="203685" y="321423"/>
                  <a:pt x="204089" y="323840"/>
                </a:cubicBezTo>
                <a:cubicBezTo>
                  <a:pt x="204089" y="324645"/>
                  <a:pt x="204089" y="324645"/>
                  <a:pt x="204896" y="325048"/>
                </a:cubicBezTo>
                <a:cubicBezTo>
                  <a:pt x="204896" y="327867"/>
                  <a:pt x="201265" y="330284"/>
                  <a:pt x="201265" y="333103"/>
                </a:cubicBezTo>
                <a:cubicBezTo>
                  <a:pt x="201265" y="335923"/>
                  <a:pt x="200458" y="336326"/>
                  <a:pt x="203282" y="337937"/>
                </a:cubicBezTo>
                <a:cubicBezTo>
                  <a:pt x="203282" y="339548"/>
                  <a:pt x="201265" y="340353"/>
                  <a:pt x="201668" y="342367"/>
                </a:cubicBezTo>
                <a:cubicBezTo>
                  <a:pt x="202475" y="344784"/>
                  <a:pt x="204089" y="344784"/>
                  <a:pt x="205299" y="345992"/>
                </a:cubicBezTo>
                <a:cubicBezTo>
                  <a:pt x="206913" y="348812"/>
                  <a:pt x="209334" y="351631"/>
                  <a:pt x="211755" y="354048"/>
                </a:cubicBezTo>
                <a:cubicBezTo>
                  <a:pt x="214579" y="357270"/>
                  <a:pt x="215386" y="360895"/>
                  <a:pt x="219824" y="361700"/>
                </a:cubicBezTo>
                <a:cubicBezTo>
                  <a:pt x="223455" y="362506"/>
                  <a:pt x="227490" y="364520"/>
                  <a:pt x="229103" y="367742"/>
                </a:cubicBezTo>
                <a:cubicBezTo>
                  <a:pt x="230314" y="370964"/>
                  <a:pt x="230717" y="374186"/>
                  <a:pt x="231928" y="377006"/>
                </a:cubicBezTo>
                <a:cubicBezTo>
                  <a:pt x="232331" y="380631"/>
                  <a:pt x="231928" y="386269"/>
                  <a:pt x="233945" y="388686"/>
                </a:cubicBezTo>
                <a:cubicBezTo>
                  <a:pt x="235962" y="393519"/>
                  <a:pt x="236366" y="396339"/>
                  <a:pt x="236366" y="400769"/>
                </a:cubicBezTo>
                <a:cubicBezTo>
                  <a:pt x="236366" y="403186"/>
                  <a:pt x="237576" y="403589"/>
                  <a:pt x="238383" y="405200"/>
                </a:cubicBezTo>
                <a:cubicBezTo>
                  <a:pt x="238786" y="406408"/>
                  <a:pt x="238383" y="407616"/>
                  <a:pt x="239190" y="408422"/>
                </a:cubicBezTo>
                <a:cubicBezTo>
                  <a:pt x="202879" y="386672"/>
                  <a:pt x="178671" y="347201"/>
                  <a:pt x="178671" y="302090"/>
                </a:cubicBezTo>
                <a:lnTo>
                  <a:pt x="182488" y="283232"/>
                </a:lnTo>
                <a:lnTo>
                  <a:pt x="183109" y="284368"/>
                </a:lnTo>
                <a:cubicBezTo>
                  <a:pt x="184319" y="284368"/>
                  <a:pt x="185530" y="281549"/>
                  <a:pt x="185933" y="283965"/>
                </a:cubicBezTo>
                <a:cubicBezTo>
                  <a:pt x="186740" y="283965"/>
                  <a:pt x="186337" y="287993"/>
                  <a:pt x="186740" y="288799"/>
                </a:cubicBezTo>
                <a:cubicBezTo>
                  <a:pt x="187547" y="290812"/>
                  <a:pt x="189161" y="292021"/>
                  <a:pt x="190775" y="292826"/>
                </a:cubicBezTo>
                <a:cubicBezTo>
                  <a:pt x="190371" y="294437"/>
                  <a:pt x="190775" y="296048"/>
                  <a:pt x="190775" y="297659"/>
                </a:cubicBezTo>
                <a:cubicBezTo>
                  <a:pt x="190775" y="299673"/>
                  <a:pt x="189161" y="301687"/>
                  <a:pt x="189564" y="303701"/>
                </a:cubicBezTo>
                <a:cubicBezTo>
                  <a:pt x="189968" y="303701"/>
                  <a:pt x="189968" y="303701"/>
                  <a:pt x="190371" y="304104"/>
                </a:cubicBezTo>
                <a:cubicBezTo>
                  <a:pt x="189968" y="303701"/>
                  <a:pt x="190371" y="303298"/>
                  <a:pt x="190371" y="302896"/>
                </a:cubicBezTo>
                <a:cubicBezTo>
                  <a:pt x="192389" y="303701"/>
                  <a:pt x="191178" y="313368"/>
                  <a:pt x="193599" y="314173"/>
                </a:cubicBezTo>
                <a:cubicBezTo>
                  <a:pt x="194809" y="314576"/>
                  <a:pt x="195213" y="308534"/>
                  <a:pt x="197634" y="309340"/>
                </a:cubicBezTo>
                <a:cubicBezTo>
                  <a:pt x="199247" y="310145"/>
                  <a:pt x="198037" y="313368"/>
                  <a:pt x="198037" y="314173"/>
                </a:cubicBezTo>
                <a:cubicBezTo>
                  <a:pt x="198037" y="314173"/>
                  <a:pt x="200054" y="312159"/>
                  <a:pt x="200458" y="312159"/>
                </a:cubicBezTo>
                <a:cubicBezTo>
                  <a:pt x="200054" y="310548"/>
                  <a:pt x="200054" y="306118"/>
                  <a:pt x="197230" y="307326"/>
                </a:cubicBezTo>
                <a:cubicBezTo>
                  <a:pt x="191178" y="309743"/>
                  <a:pt x="193599" y="299673"/>
                  <a:pt x="194809" y="296854"/>
                </a:cubicBezTo>
                <a:cubicBezTo>
                  <a:pt x="196423" y="293229"/>
                  <a:pt x="201265" y="286785"/>
                  <a:pt x="194406" y="286382"/>
                </a:cubicBezTo>
                <a:cubicBezTo>
                  <a:pt x="188757" y="285979"/>
                  <a:pt x="195213" y="280743"/>
                  <a:pt x="196020" y="279535"/>
                </a:cubicBezTo>
                <a:cubicBezTo>
                  <a:pt x="196827" y="279132"/>
                  <a:pt x="197230" y="278326"/>
                  <a:pt x="197634" y="277521"/>
                </a:cubicBezTo>
                <a:cubicBezTo>
                  <a:pt x="198441" y="275910"/>
                  <a:pt x="199651" y="274701"/>
                  <a:pt x="200458" y="272688"/>
                </a:cubicBezTo>
                <a:cubicBezTo>
                  <a:pt x="194406" y="271882"/>
                  <a:pt x="194002" y="279937"/>
                  <a:pt x="187951" y="278729"/>
                </a:cubicBezTo>
                <a:cubicBezTo>
                  <a:pt x="183916" y="277924"/>
                  <a:pt x="193196" y="262215"/>
                  <a:pt x="193599" y="261410"/>
                </a:cubicBezTo>
                <a:cubicBezTo>
                  <a:pt x="195616" y="258188"/>
                  <a:pt x="197634" y="256577"/>
                  <a:pt x="200861" y="254966"/>
                </a:cubicBezTo>
                <a:cubicBezTo>
                  <a:pt x="203282" y="253757"/>
                  <a:pt x="204492" y="256979"/>
                  <a:pt x="206106" y="256174"/>
                </a:cubicBezTo>
                <a:cubicBezTo>
                  <a:pt x="205703" y="255771"/>
                  <a:pt x="206510" y="255368"/>
                  <a:pt x="206913" y="254563"/>
                </a:cubicBezTo>
                <a:cubicBezTo>
                  <a:pt x="206913" y="254563"/>
                  <a:pt x="206913" y="254563"/>
                  <a:pt x="206510" y="254160"/>
                </a:cubicBezTo>
                <a:cubicBezTo>
                  <a:pt x="207317" y="254160"/>
                  <a:pt x="208124" y="254160"/>
                  <a:pt x="208930" y="254160"/>
                </a:cubicBezTo>
                <a:cubicBezTo>
                  <a:pt x="208930" y="254563"/>
                  <a:pt x="214175" y="255368"/>
                  <a:pt x="214175" y="255368"/>
                </a:cubicBezTo>
                <a:cubicBezTo>
                  <a:pt x="214175" y="256174"/>
                  <a:pt x="210544" y="265438"/>
                  <a:pt x="212562" y="265840"/>
                </a:cubicBezTo>
                <a:cubicBezTo>
                  <a:pt x="214982" y="265840"/>
                  <a:pt x="216596" y="259396"/>
                  <a:pt x="216596" y="258188"/>
                </a:cubicBezTo>
                <a:cubicBezTo>
                  <a:pt x="217403" y="252549"/>
                  <a:pt x="221438" y="250535"/>
                  <a:pt x="226279" y="248521"/>
                </a:cubicBezTo>
                <a:cubicBezTo>
                  <a:pt x="226279" y="248521"/>
                  <a:pt x="226279" y="248118"/>
                  <a:pt x="226279" y="248118"/>
                </a:cubicBezTo>
                <a:cubicBezTo>
                  <a:pt x="227490" y="247313"/>
                  <a:pt x="228700" y="247313"/>
                  <a:pt x="229910" y="246507"/>
                </a:cubicBezTo>
                <a:cubicBezTo>
                  <a:pt x="229103" y="245299"/>
                  <a:pt x="230314" y="245702"/>
                  <a:pt x="230717" y="244896"/>
                </a:cubicBezTo>
                <a:cubicBezTo>
                  <a:pt x="230717" y="244896"/>
                  <a:pt x="230314" y="244896"/>
                  <a:pt x="230314" y="244493"/>
                </a:cubicBezTo>
                <a:cubicBezTo>
                  <a:pt x="231121" y="244493"/>
                  <a:pt x="231524" y="244091"/>
                  <a:pt x="231928" y="243285"/>
                </a:cubicBezTo>
                <a:lnTo>
                  <a:pt x="231524" y="243285"/>
                </a:lnTo>
                <a:cubicBezTo>
                  <a:pt x="231121" y="242882"/>
                  <a:pt x="232735" y="240466"/>
                  <a:pt x="233138" y="240063"/>
                </a:cubicBezTo>
                <a:cubicBezTo>
                  <a:pt x="233138" y="240466"/>
                  <a:pt x="232331" y="242882"/>
                  <a:pt x="232331" y="242882"/>
                </a:cubicBezTo>
                <a:cubicBezTo>
                  <a:pt x="233945" y="242882"/>
                  <a:pt x="234348" y="240063"/>
                  <a:pt x="235155" y="239660"/>
                </a:cubicBezTo>
                <a:cubicBezTo>
                  <a:pt x="234752" y="238855"/>
                  <a:pt x="239593" y="237244"/>
                  <a:pt x="240804" y="236841"/>
                </a:cubicBezTo>
                <a:cubicBezTo>
                  <a:pt x="240400" y="236438"/>
                  <a:pt x="239190" y="236841"/>
                  <a:pt x="238786" y="236841"/>
                </a:cubicBezTo>
                <a:cubicBezTo>
                  <a:pt x="240804" y="236035"/>
                  <a:pt x="243225" y="236035"/>
                  <a:pt x="245242" y="235633"/>
                </a:cubicBezTo>
                <a:cubicBezTo>
                  <a:pt x="242418" y="235633"/>
                  <a:pt x="247259" y="231202"/>
                  <a:pt x="249276" y="231605"/>
                </a:cubicBezTo>
                <a:cubicBezTo>
                  <a:pt x="250890" y="232008"/>
                  <a:pt x="254118" y="229591"/>
                  <a:pt x="256135" y="229591"/>
                </a:cubicBezTo>
                <a:cubicBezTo>
                  <a:pt x="255732" y="230396"/>
                  <a:pt x="255732" y="230396"/>
                  <a:pt x="256539" y="230396"/>
                </a:cubicBezTo>
                <a:cubicBezTo>
                  <a:pt x="253714" y="230396"/>
                  <a:pt x="251697" y="234021"/>
                  <a:pt x="253714" y="232813"/>
                </a:cubicBezTo>
                <a:cubicBezTo>
                  <a:pt x="254925" y="232008"/>
                  <a:pt x="260170" y="231202"/>
                  <a:pt x="260977" y="230396"/>
                </a:cubicBezTo>
                <a:cubicBezTo>
                  <a:pt x="260977" y="229994"/>
                  <a:pt x="259464" y="229893"/>
                  <a:pt x="258304" y="229490"/>
                </a:cubicBezTo>
                <a:lnTo>
                  <a:pt x="258100" y="228490"/>
                </a:lnTo>
                <a:lnTo>
                  <a:pt x="260170" y="228785"/>
                </a:lnTo>
                <a:lnTo>
                  <a:pt x="258014" y="228068"/>
                </a:lnTo>
                <a:lnTo>
                  <a:pt x="257749" y="226771"/>
                </a:lnTo>
                <a:cubicBezTo>
                  <a:pt x="257346" y="226771"/>
                  <a:pt x="256942" y="226369"/>
                  <a:pt x="256539" y="226369"/>
                </a:cubicBezTo>
                <a:cubicBezTo>
                  <a:pt x="257346" y="225966"/>
                  <a:pt x="258556" y="226369"/>
                  <a:pt x="259363" y="225160"/>
                </a:cubicBezTo>
                <a:cubicBezTo>
                  <a:pt x="259766" y="224355"/>
                  <a:pt x="252101" y="225966"/>
                  <a:pt x="251697" y="225966"/>
                </a:cubicBezTo>
                <a:lnTo>
                  <a:pt x="259641" y="224021"/>
                </a:lnTo>
                <a:lnTo>
                  <a:pt x="262187" y="223398"/>
                </a:lnTo>
                <a:cubicBezTo>
                  <a:pt x="266323" y="222542"/>
                  <a:pt x="269853" y="221334"/>
                  <a:pt x="269046" y="218716"/>
                </a:cubicBezTo>
                <a:cubicBezTo>
                  <a:pt x="268642" y="218716"/>
                  <a:pt x="263397" y="220327"/>
                  <a:pt x="263397" y="219522"/>
                </a:cubicBezTo>
                <a:cubicBezTo>
                  <a:pt x="264608" y="219119"/>
                  <a:pt x="267432" y="219119"/>
                  <a:pt x="267836" y="218313"/>
                </a:cubicBezTo>
                <a:cubicBezTo>
                  <a:pt x="268239" y="217911"/>
                  <a:pt x="263801" y="218313"/>
                  <a:pt x="265011" y="216702"/>
                </a:cubicBezTo>
                <a:cubicBezTo>
                  <a:pt x="263801" y="216702"/>
                  <a:pt x="263397" y="216299"/>
                  <a:pt x="262994" y="216299"/>
                </a:cubicBezTo>
                <a:cubicBezTo>
                  <a:pt x="264406" y="215897"/>
                  <a:pt x="264204" y="214487"/>
                  <a:pt x="263498" y="213480"/>
                </a:cubicBezTo>
                <a:lnTo>
                  <a:pt x="261292" y="213127"/>
                </a:lnTo>
                <a:lnTo>
                  <a:pt x="260977" y="211869"/>
                </a:lnTo>
                <a:cubicBezTo>
                  <a:pt x="259766" y="214286"/>
                  <a:pt x="254521" y="212674"/>
                  <a:pt x="252908" y="211869"/>
                </a:cubicBezTo>
                <a:cubicBezTo>
                  <a:pt x="246856" y="208647"/>
                  <a:pt x="248469" y="212674"/>
                  <a:pt x="244031" y="213883"/>
                </a:cubicBezTo>
                <a:cubicBezTo>
                  <a:pt x="244031" y="215897"/>
                  <a:pt x="247259" y="215897"/>
                  <a:pt x="243225" y="217508"/>
                </a:cubicBezTo>
                <a:cubicBezTo>
                  <a:pt x="239593" y="219119"/>
                  <a:pt x="241611" y="219522"/>
                  <a:pt x="239997" y="221535"/>
                </a:cubicBezTo>
                <a:cubicBezTo>
                  <a:pt x="238383" y="221535"/>
                  <a:pt x="237980" y="221535"/>
                  <a:pt x="237576" y="221133"/>
                </a:cubicBezTo>
                <a:cubicBezTo>
                  <a:pt x="237980" y="220327"/>
                  <a:pt x="239593" y="219522"/>
                  <a:pt x="238383" y="218716"/>
                </a:cubicBezTo>
                <a:cubicBezTo>
                  <a:pt x="234752" y="218716"/>
                  <a:pt x="235155" y="215897"/>
                  <a:pt x="230717" y="216299"/>
                </a:cubicBezTo>
                <a:cubicBezTo>
                  <a:pt x="231928" y="215091"/>
                  <a:pt x="232331" y="214286"/>
                  <a:pt x="230314" y="214688"/>
                </a:cubicBezTo>
                <a:cubicBezTo>
                  <a:pt x="232735" y="213077"/>
                  <a:pt x="237576" y="211466"/>
                  <a:pt x="239190" y="209855"/>
                </a:cubicBezTo>
                <a:cubicBezTo>
                  <a:pt x="239190" y="209855"/>
                  <a:pt x="238786" y="209452"/>
                  <a:pt x="238786" y="209452"/>
                </a:cubicBezTo>
                <a:cubicBezTo>
                  <a:pt x="240804" y="209855"/>
                  <a:pt x="244435" y="209452"/>
                  <a:pt x="246049" y="208244"/>
                </a:cubicBezTo>
                <a:cubicBezTo>
                  <a:pt x="245242" y="207841"/>
                  <a:pt x="243628" y="208244"/>
                  <a:pt x="244031" y="207438"/>
                </a:cubicBezTo>
                <a:cubicBezTo>
                  <a:pt x="244838" y="207841"/>
                  <a:pt x="246049" y="207841"/>
                  <a:pt x="247259" y="207841"/>
                </a:cubicBezTo>
                <a:cubicBezTo>
                  <a:pt x="246452" y="208244"/>
                  <a:pt x="244838" y="209049"/>
                  <a:pt x="244031" y="209452"/>
                </a:cubicBezTo>
                <a:cubicBezTo>
                  <a:pt x="244435" y="209452"/>
                  <a:pt x="245242" y="209452"/>
                  <a:pt x="245645" y="209452"/>
                </a:cubicBezTo>
                <a:cubicBezTo>
                  <a:pt x="245242" y="209855"/>
                  <a:pt x="245242" y="209855"/>
                  <a:pt x="245645" y="209855"/>
                </a:cubicBezTo>
                <a:cubicBezTo>
                  <a:pt x="247259" y="209855"/>
                  <a:pt x="250083" y="209452"/>
                  <a:pt x="251697" y="209049"/>
                </a:cubicBezTo>
                <a:cubicBezTo>
                  <a:pt x="251697" y="209049"/>
                  <a:pt x="250890" y="209049"/>
                  <a:pt x="250487" y="208647"/>
                </a:cubicBezTo>
                <a:cubicBezTo>
                  <a:pt x="250487" y="208647"/>
                  <a:pt x="250890" y="208647"/>
                  <a:pt x="250890" y="208244"/>
                </a:cubicBezTo>
                <a:cubicBezTo>
                  <a:pt x="250487" y="207841"/>
                  <a:pt x="248873" y="207841"/>
                  <a:pt x="248469" y="207841"/>
                </a:cubicBezTo>
                <a:cubicBezTo>
                  <a:pt x="248469" y="207841"/>
                  <a:pt x="248469" y="207841"/>
                  <a:pt x="248469" y="207438"/>
                </a:cubicBezTo>
                <a:cubicBezTo>
                  <a:pt x="248873" y="207438"/>
                  <a:pt x="249276" y="207438"/>
                  <a:pt x="249680" y="207438"/>
                </a:cubicBezTo>
                <a:cubicBezTo>
                  <a:pt x="252101" y="206633"/>
                  <a:pt x="254521" y="205425"/>
                  <a:pt x="255732" y="204619"/>
                </a:cubicBezTo>
                <a:cubicBezTo>
                  <a:pt x="254925" y="204619"/>
                  <a:pt x="254118" y="204216"/>
                  <a:pt x="253714" y="204216"/>
                </a:cubicBezTo>
                <a:cubicBezTo>
                  <a:pt x="254521" y="204216"/>
                  <a:pt x="255328" y="204216"/>
                  <a:pt x="255732" y="204216"/>
                </a:cubicBezTo>
                <a:cubicBezTo>
                  <a:pt x="254925" y="204619"/>
                  <a:pt x="257749" y="203813"/>
                  <a:pt x="258556" y="204216"/>
                </a:cubicBezTo>
                <a:cubicBezTo>
                  <a:pt x="258959" y="204216"/>
                  <a:pt x="258959" y="204216"/>
                  <a:pt x="259363" y="204619"/>
                </a:cubicBezTo>
                <a:cubicBezTo>
                  <a:pt x="258959" y="204619"/>
                  <a:pt x="258556" y="204619"/>
                  <a:pt x="258153" y="205022"/>
                </a:cubicBezTo>
                <a:cubicBezTo>
                  <a:pt x="258556" y="204619"/>
                  <a:pt x="260170" y="205022"/>
                  <a:pt x="260573" y="205022"/>
                </a:cubicBezTo>
                <a:cubicBezTo>
                  <a:pt x="259766" y="205022"/>
                  <a:pt x="258959" y="205022"/>
                  <a:pt x="258556" y="205425"/>
                </a:cubicBezTo>
                <a:cubicBezTo>
                  <a:pt x="258556" y="205425"/>
                  <a:pt x="260977" y="206230"/>
                  <a:pt x="260977" y="205425"/>
                </a:cubicBezTo>
                <a:cubicBezTo>
                  <a:pt x="262591" y="206230"/>
                  <a:pt x="258153" y="207036"/>
                  <a:pt x="259363" y="207438"/>
                </a:cubicBezTo>
                <a:cubicBezTo>
                  <a:pt x="257749" y="208244"/>
                  <a:pt x="254521" y="207841"/>
                  <a:pt x="253714" y="209049"/>
                </a:cubicBezTo>
                <a:cubicBezTo>
                  <a:pt x="253311" y="209452"/>
                  <a:pt x="258556" y="209049"/>
                  <a:pt x="258959" y="209049"/>
                </a:cubicBezTo>
                <a:cubicBezTo>
                  <a:pt x="260170" y="209855"/>
                  <a:pt x="262187" y="211063"/>
                  <a:pt x="264204" y="210661"/>
                </a:cubicBezTo>
                <a:cubicBezTo>
                  <a:pt x="265818" y="210258"/>
                  <a:pt x="262994" y="209049"/>
                  <a:pt x="262994" y="209049"/>
                </a:cubicBezTo>
                <a:cubicBezTo>
                  <a:pt x="265415" y="208647"/>
                  <a:pt x="265415" y="209855"/>
                  <a:pt x="266222" y="207438"/>
                </a:cubicBezTo>
                <a:cubicBezTo>
                  <a:pt x="265415" y="207841"/>
                  <a:pt x="265011" y="207036"/>
                  <a:pt x="264204" y="207036"/>
                </a:cubicBezTo>
                <a:cubicBezTo>
                  <a:pt x="264608" y="206633"/>
                  <a:pt x="264608" y="206633"/>
                  <a:pt x="265011" y="206633"/>
                </a:cubicBezTo>
                <a:cubicBezTo>
                  <a:pt x="266222" y="206633"/>
                  <a:pt x="268642" y="207438"/>
                  <a:pt x="268642" y="205827"/>
                </a:cubicBezTo>
                <a:cubicBezTo>
                  <a:pt x="268642" y="205827"/>
                  <a:pt x="265415" y="204619"/>
                  <a:pt x="265415" y="204619"/>
                </a:cubicBezTo>
                <a:cubicBezTo>
                  <a:pt x="265415" y="204216"/>
                  <a:pt x="265818" y="204216"/>
                  <a:pt x="266222" y="204216"/>
                </a:cubicBezTo>
                <a:cubicBezTo>
                  <a:pt x="265818" y="204216"/>
                  <a:pt x="265415" y="204216"/>
                  <a:pt x="265011" y="204216"/>
                </a:cubicBezTo>
                <a:cubicBezTo>
                  <a:pt x="265415" y="203813"/>
                  <a:pt x="265818" y="203813"/>
                  <a:pt x="265818" y="203813"/>
                </a:cubicBezTo>
                <a:cubicBezTo>
                  <a:pt x="265818" y="203813"/>
                  <a:pt x="265415" y="203411"/>
                  <a:pt x="265011" y="203813"/>
                </a:cubicBezTo>
                <a:cubicBezTo>
                  <a:pt x="265011" y="203411"/>
                  <a:pt x="265011" y="203411"/>
                  <a:pt x="265011" y="203411"/>
                </a:cubicBezTo>
                <a:cubicBezTo>
                  <a:pt x="262591" y="203411"/>
                  <a:pt x="260170" y="202605"/>
                  <a:pt x="257346" y="202605"/>
                </a:cubicBezTo>
                <a:cubicBezTo>
                  <a:pt x="257346" y="202605"/>
                  <a:pt x="257749" y="201800"/>
                  <a:pt x="257749" y="201800"/>
                </a:cubicBezTo>
                <a:cubicBezTo>
                  <a:pt x="257346" y="200591"/>
                  <a:pt x="250487" y="203008"/>
                  <a:pt x="252101" y="202202"/>
                </a:cubicBezTo>
                <a:cubicBezTo>
                  <a:pt x="251294" y="202202"/>
                  <a:pt x="253714" y="201397"/>
                  <a:pt x="254521" y="201397"/>
                </a:cubicBezTo>
                <a:lnTo>
                  <a:pt x="250084" y="201800"/>
                </a:lnTo>
                <a:lnTo>
                  <a:pt x="251697" y="201397"/>
                </a:lnTo>
                <a:cubicBezTo>
                  <a:pt x="251294" y="201397"/>
                  <a:pt x="250890" y="201397"/>
                  <a:pt x="250083" y="201800"/>
                </a:cubicBezTo>
                <a:lnTo>
                  <a:pt x="250084" y="201800"/>
                </a:lnTo>
                <a:lnTo>
                  <a:pt x="249439" y="201961"/>
                </a:lnTo>
                <a:lnTo>
                  <a:pt x="249680" y="201800"/>
                </a:lnTo>
                <a:cubicBezTo>
                  <a:pt x="249276" y="202202"/>
                  <a:pt x="247663" y="202202"/>
                  <a:pt x="246856" y="202202"/>
                </a:cubicBezTo>
                <a:cubicBezTo>
                  <a:pt x="247259" y="202202"/>
                  <a:pt x="247259" y="202202"/>
                  <a:pt x="247259" y="202202"/>
                </a:cubicBezTo>
                <a:cubicBezTo>
                  <a:pt x="246856" y="202605"/>
                  <a:pt x="246049" y="203008"/>
                  <a:pt x="245242" y="203008"/>
                </a:cubicBezTo>
                <a:lnTo>
                  <a:pt x="249439" y="201961"/>
                </a:lnTo>
                <a:lnTo>
                  <a:pt x="247259" y="203411"/>
                </a:lnTo>
                <a:lnTo>
                  <a:pt x="246856" y="203411"/>
                </a:lnTo>
                <a:cubicBezTo>
                  <a:pt x="246049" y="204216"/>
                  <a:pt x="252504" y="204216"/>
                  <a:pt x="252504" y="204216"/>
                </a:cubicBezTo>
                <a:cubicBezTo>
                  <a:pt x="251697" y="204619"/>
                  <a:pt x="248469" y="207036"/>
                  <a:pt x="247663" y="206230"/>
                </a:cubicBezTo>
                <a:cubicBezTo>
                  <a:pt x="247259" y="205425"/>
                  <a:pt x="247663" y="205425"/>
                  <a:pt x="248469" y="205425"/>
                </a:cubicBezTo>
                <a:cubicBezTo>
                  <a:pt x="249276" y="204619"/>
                  <a:pt x="245645" y="205425"/>
                  <a:pt x="246049" y="205425"/>
                </a:cubicBezTo>
                <a:cubicBezTo>
                  <a:pt x="246856" y="204619"/>
                  <a:pt x="245242" y="205022"/>
                  <a:pt x="246452" y="204619"/>
                </a:cubicBezTo>
                <a:cubicBezTo>
                  <a:pt x="246049" y="204619"/>
                  <a:pt x="245242" y="204619"/>
                  <a:pt x="245242" y="204619"/>
                </a:cubicBezTo>
                <a:cubicBezTo>
                  <a:pt x="245645" y="204619"/>
                  <a:pt x="246049" y="204216"/>
                  <a:pt x="246452" y="204216"/>
                </a:cubicBezTo>
                <a:cubicBezTo>
                  <a:pt x="247663" y="203411"/>
                  <a:pt x="243225" y="203411"/>
                  <a:pt x="242014" y="204216"/>
                </a:cubicBezTo>
                <a:cubicBezTo>
                  <a:pt x="242014" y="204619"/>
                  <a:pt x="243628" y="204619"/>
                  <a:pt x="243225" y="205022"/>
                </a:cubicBezTo>
                <a:cubicBezTo>
                  <a:pt x="243225" y="205022"/>
                  <a:pt x="242821" y="205425"/>
                  <a:pt x="242418" y="205425"/>
                </a:cubicBezTo>
                <a:cubicBezTo>
                  <a:pt x="242821" y="205425"/>
                  <a:pt x="242821" y="205425"/>
                  <a:pt x="243225" y="205425"/>
                </a:cubicBezTo>
                <a:cubicBezTo>
                  <a:pt x="242821" y="205827"/>
                  <a:pt x="241207" y="205827"/>
                  <a:pt x="239997" y="206633"/>
                </a:cubicBezTo>
                <a:cubicBezTo>
                  <a:pt x="239593" y="206633"/>
                  <a:pt x="239593" y="206633"/>
                  <a:pt x="239997" y="206230"/>
                </a:cubicBezTo>
                <a:cubicBezTo>
                  <a:pt x="238383" y="206633"/>
                  <a:pt x="234348" y="206230"/>
                  <a:pt x="231524" y="206230"/>
                </a:cubicBezTo>
                <a:cubicBezTo>
                  <a:pt x="230717" y="207036"/>
                  <a:pt x="228700" y="207036"/>
                  <a:pt x="228297" y="207036"/>
                </a:cubicBezTo>
                <a:lnTo>
                  <a:pt x="223523" y="208703"/>
                </a:lnTo>
                <a:lnTo>
                  <a:pt x="227657" y="205921"/>
                </a:lnTo>
                <a:lnTo>
                  <a:pt x="230667" y="206079"/>
                </a:lnTo>
                <a:cubicBezTo>
                  <a:pt x="233037" y="206029"/>
                  <a:pt x="235559" y="205828"/>
                  <a:pt x="236366" y="205425"/>
                </a:cubicBezTo>
                <a:cubicBezTo>
                  <a:pt x="236366" y="205425"/>
                  <a:pt x="235962" y="205022"/>
                  <a:pt x="235962" y="205022"/>
                </a:cubicBezTo>
                <a:cubicBezTo>
                  <a:pt x="236366" y="204619"/>
                  <a:pt x="237576" y="205022"/>
                  <a:pt x="237980" y="204619"/>
                </a:cubicBezTo>
                <a:cubicBezTo>
                  <a:pt x="236769" y="203813"/>
                  <a:pt x="235962" y="204619"/>
                  <a:pt x="236769" y="203411"/>
                </a:cubicBezTo>
                <a:cubicBezTo>
                  <a:pt x="236769" y="203008"/>
                  <a:pt x="238786" y="201800"/>
                  <a:pt x="238786" y="201800"/>
                </a:cubicBezTo>
                <a:cubicBezTo>
                  <a:pt x="236769" y="201397"/>
                  <a:pt x="235155" y="203411"/>
                  <a:pt x="233945" y="203813"/>
                </a:cubicBezTo>
                <a:lnTo>
                  <a:pt x="231509" y="203327"/>
                </a:lnTo>
                <a:lnTo>
                  <a:pt x="235129" y="200889"/>
                </a:lnTo>
                <a:lnTo>
                  <a:pt x="240804" y="200591"/>
                </a:lnTo>
                <a:cubicBezTo>
                  <a:pt x="240804" y="200189"/>
                  <a:pt x="237980" y="200591"/>
                  <a:pt x="239593" y="199786"/>
                </a:cubicBezTo>
                <a:cubicBezTo>
                  <a:pt x="239190" y="199786"/>
                  <a:pt x="236366" y="200189"/>
                  <a:pt x="237576" y="200189"/>
                </a:cubicBezTo>
                <a:lnTo>
                  <a:pt x="237207" y="200558"/>
                </a:lnTo>
                <a:lnTo>
                  <a:pt x="235810" y="200431"/>
                </a:lnTo>
                <a:lnTo>
                  <a:pt x="237965" y="198980"/>
                </a:lnTo>
                <a:lnTo>
                  <a:pt x="254584" y="187791"/>
                </a:lnTo>
                <a:cubicBezTo>
                  <a:pt x="269449" y="181510"/>
                  <a:pt x="285789" y="178036"/>
                  <a:pt x="302936" y="178036"/>
                </a:cubicBezTo>
                <a:close/>
                <a:moveTo>
                  <a:pt x="289651" y="116785"/>
                </a:moveTo>
                <a:cubicBezTo>
                  <a:pt x="288441" y="116785"/>
                  <a:pt x="287635" y="117590"/>
                  <a:pt x="287635" y="118396"/>
                </a:cubicBezTo>
                <a:cubicBezTo>
                  <a:pt x="287635" y="119604"/>
                  <a:pt x="288441" y="120409"/>
                  <a:pt x="289651" y="120409"/>
                </a:cubicBezTo>
                <a:lnTo>
                  <a:pt x="316272" y="120409"/>
                </a:lnTo>
                <a:cubicBezTo>
                  <a:pt x="317079" y="120409"/>
                  <a:pt x="317885" y="119604"/>
                  <a:pt x="317885" y="118396"/>
                </a:cubicBezTo>
                <a:cubicBezTo>
                  <a:pt x="317885" y="117590"/>
                  <a:pt x="317079" y="116785"/>
                  <a:pt x="316272" y="116785"/>
                </a:cubicBezTo>
                <a:close/>
                <a:moveTo>
                  <a:pt x="280374" y="107523"/>
                </a:moveTo>
                <a:lnTo>
                  <a:pt x="275534" y="113563"/>
                </a:lnTo>
                <a:lnTo>
                  <a:pt x="330389" y="113563"/>
                </a:lnTo>
                <a:lnTo>
                  <a:pt x="325146" y="107523"/>
                </a:lnTo>
                <a:close/>
                <a:moveTo>
                  <a:pt x="395730" y="70848"/>
                </a:moveTo>
                <a:cubicBezTo>
                  <a:pt x="487310" y="107504"/>
                  <a:pt x="552667" y="197332"/>
                  <a:pt x="552667" y="302064"/>
                </a:cubicBezTo>
                <a:cubicBezTo>
                  <a:pt x="552667" y="313343"/>
                  <a:pt x="551457" y="323816"/>
                  <a:pt x="550246" y="334692"/>
                </a:cubicBezTo>
                <a:lnTo>
                  <a:pt x="531688" y="334692"/>
                </a:lnTo>
                <a:cubicBezTo>
                  <a:pt x="533302" y="324219"/>
                  <a:pt x="534512" y="313343"/>
                  <a:pt x="534512" y="302064"/>
                </a:cubicBezTo>
                <a:cubicBezTo>
                  <a:pt x="534512" y="209819"/>
                  <a:pt x="479645" y="130062"/>
                  <a:pt x="400975" y="93003"/>
                </a:cubicBezTo>
                <a:lnTo>
                  <a:pt x="395730" y="86558"/>
                </a:lnTo>
                <a:close/>
                <a:moveTo>
                  <a:pt x="210144" y="70848"/>
                </a:moveTo>
                <a:lnTo>
                  <a:pt x="210144" y="86558"/>
                </a:lnTo>
                <a:lnTo>
                  <a:pt x="204902" y="93003"/>
                </a:lnTo>
                <a:cubicBezTo>
                  <a:pt x="126267" y="130062"/>
                  <a:pt x="71424" y="209819"/>
                  <a:pt x="71424" y="302064"/>
                </a:cubicBezTo>
                <a:cubicBezTo>
                  <a:pt x="71424" y="313343"/>
                  <a:pt x="72230" y="324219"/>
                  <a:pt x="73843" y="334692"/>
                </a:cubicBezTo>
                <a:lnTo>
                  <a:pt x="55697" y="334692"/>
                </a:lnTo>
                <a:cubicBezTo>
                  <a:pt x="54084" y="324219"/>
                  <a:pt x="53277" y="313343"/>
                  <a:pt x="53277" y="302064"/>
                </a:cubicBezTo>
                <a:cubicBezTo>
                  <a:pt x="53277" y="197332"/>
                  <a:pt x="118201" y="107907"/>
                  <a:pt x="210144" y="70848"/>
                </a:cubicBezTo>
                <a:close/>
                <a:moveTo>
                  <a:pt x="244477" y="6041"/>
                </a:moveTo>
                <a:cubicBezTo>
                  <a:pt x="241250" y="6041"/>
                  <a:pt x="238830" y="8860"/>
                  <a:pt x="238830" y="12081"/>
                </a:cubicBezTo>
                <a:lnTo>
                  <a:pt x="238830" y="81749"/>
                </a:lnTo>
                <a:cubicBezTo>
                  <a:pt x="238830" y="84971"/>
                  <a:pt x="241250" y="87790"/>
                  <a:pt x="244477" y="87790"/>
                </a:cubicBezTo>
                <a:lnTo>
                  <a:pt x="361043" y="87790"/>
                </a:lnTo>
                <a:cubicBezTo>
                  <a:pt x="364270" y="87790"/>
                  <a:pt x="367093" y="84971"/>
                  <a:pt x="367093" y="81749"/>
                </a:cubicBezTo>
                <a:lnTo>
                  <a:pt x="367093" y="12081"/>
                </a:lnTo>
                <a:cubicBezTo>
                  <a:pt x="367093" y="8860"/>
                  <a:pt x="364270" y="6041"/>
                  <a:pt x="361043" y="6041"/>
                </a:cubicBezTo>
                <a:close/>
                <a:moveTo>
                  <a:pt x="236007" y="0"/>
                </a:moveTo>
                <a:lnTo>
                  <a:pt x="369513" y="0"/>
                </a:lnTo>
                <a:cubicBezTo>
                  <a:pt x="373143" y="0"/>
                  <a:pt x="376370" y="3222"/>
                  <a:pt x="376370" y="6846"/>
                </a:cubicBezTo>
                <a:lnTo>
                  <a:pt x="376370" y="46714"/>
                </a:lnTo>
                <a:lnTo>
                  <a:pt x="376370" y="86985"/>
                </a:lnTo>
                <a:lnTo>
                  <a:pt x="376370" y="93428"/>
                </a:lnTo>
                <a:lnTo>
                  <a:pt x="392907" y="113563"/>
                </a:lnTo>
                <a:cubicBezTo>
                  <a:pt x="392907" y="119201"/>
                  <a:pt x="388470" y="123631"/>
                  <a:pt x="382823" y="123631"/>
                </a:cubicBezTo>
                <a:lnTo>
                  <a:pt x="222697" y="123631"/>
                </a:lnTo>
                <a:cubicBezTo>
                  <a:pt x="217050" y="123631"/>
                  <a:pt x="212613" y="119201"/>
                  <a:pt x="212613" y="113563"/>
                </a:cubicBezTo>
                <a:lnTo>
                  <a:pt x="229553" y="93428"/>
                </a:lnTo>
                <a:lnTo>
                  <a:pt x="229553" y="86985"/>
                </a:lnTo>
                <a:lnTo>
                  <a:pt x="229553" y="46714"/>
                </a:lnTo>
                <a:lnTo>
                  <a:pt x="229553" y="6846"/>
                </a:lnTo>
                <a:cubicBezTo>
                  <a:pt x="229553" y="3222"/>
                  <a:pt x="232377" y="0"/>
                  <a:pt x="236007" y="0"/>
                </a:cubicBezTo>
                <a:close/>
              </a:path>
            </a:pathLst>
          </a:custGeom>
          <a:solidFill>
            <a:srgbClr val="006EFF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43628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如何规划容器网络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FFBC5C2A-963D-4543-B2C9-DA993B966682}"/>
              </a:ext>
            </a:extLst>
          </p:cNvPr>
          <p:cNvSpPr/>
          <p:nvPr/>
        </p:nvSpPr>
        <p:spPr>
          <a:xfrm>
            <a:off x="848991" y="1170175"/>
            <a:ext cx="10180959" cy="21833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容器网络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IDR</a:t>
            </a:r>
            <a:endParaRPr lang="en-US" altLang="zh-CN" sz="12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建议为容器网络配置多个 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PC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可用区子网，这样您的工作负载在部署时会自动分布在多个可用区，可用性更高。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请确保为容器网络分配 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P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充足的子网，避免创建大规模工作负载时因为 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P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资源耗尽无法创建 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ervice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ID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ervice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IDR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默认支持集群内 </a:t>
            </a:r>
            <a:r>
              <a:rPr lang="en" altLang="zh-CN" sz="1200" dirty="0" err="1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lusterIP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类型 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ervice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请保证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ervice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IDR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所选的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PC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子网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IP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数量满足集群所需，且没有被特殊的网络策略限制访问。</a:t>
            </a:r>
            <a:endParaRPr lang="zh-CN" altLang="e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901004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如何保证服务跨可用区容灾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ACE60E0-AA51-CF4A-B249-41A2FB4FAE6C}"/>
              </a:ext>
            </a:extLst>
          </p:cNvPr>
          <p:cNvSpPr/>
          <p:nvPr/>
        </p:nvSpPr>
        <p:spPr>
          <a:xfrm>
            <a:off x="848991" y="1170175"/>
            <a:ext cx="8005641" cy="890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集群支持跨可用区</a:t>
            </a:r>
            <a:endParaRPr lang="en-US" altLang="zh-CN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工作负载自动在集群所有可用区子网中分散</a:t>
            </a:r>
            <a:endParaRPr lang="en-US" altLang="zh-CN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按 </a:t>
            </a:r>
            <a:r>
              <a:rPr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8S</a:t>
            </a:r>
            <a:r>
              <a:rPr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亲和性方式指定可用区子网进行调度</a:t>
            </a:r>
            <a:endParaRPr lang="en-US" altLang="zh-CN" sz="105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FDE340E7-F984-0040-9DEF-291D86E5ACAF}"/>
              </a:ext>
            </a:extLst>
          </p:cNvPr>
          <p:cNvSpPr/>
          <p:nvPr/>
        </p:nvSpPr>
        <p:spPr>
          <a:xfrm>
            <a:off x="1911981" y="3931920"/>
            <a:ext cx="1074420" cy="1108710"/>
          </a:xfrm>
          <a:prstGeom prst="rect">
            <a:avLst/>
          </a:prstGeom>
          <a:solidFill>
            <a:srgbClr val="00A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子网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</a:p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用区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CAE2217-469F-0A4A-9387-9262D70B837D}"/>
              </a:ext>
            </a:extLst>
          </p:cNvPr>
          <p:cNvSpPr/>
          <p:nvPr/>
        </p:nvSpPr>
        <p:spPr>
          <a:xfrm>
            <a:off x="3155946" y="3931920"/>
            <a:ext cx="1074420" cy="1108710"/>
          </a:xfrm>
          <a:prstGeom prst="rect">
            <a:avLst/>
          </a:prstGeom>
          <a:solidFill>
            <a:srgbClr val="006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子网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</a:t>
            </a:r>
          </a:p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用区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00251E7-C40B-5A41-A507-38A29AE39A73}"/>
              </a:ext>
            </a:extLst>
          </p:cNvPr>
          <p:cNvSpPr/>
          <p:nvPr/>
        </p:nvSpPr>
        <p:spPr>
          <a:xfrm>
            <a:off x="4399911" y="3931920"/>
            <a:ext cx="1074420" cy="1108710"/>
          </a:xfrm>
          <a:prstGeom prst="rect">
            <a:avLst/>
          </a:prstGeom>
          <a:solidFill>
            <a:srgbClr val="812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子网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</a:t>
            </a:r>
          </a:p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用区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A4558EA-39CC-8547-9AE6-2E9E98FBCEB2}"/>
              </a:ext>
            </a:extLst>
          </p:cNvPr>
          <p:cNvSpPr/>
          <p:nvPr/>
        </p:nvSpPr>
        <p:spPr>
          <a:xfrm>
            <a:off x="3047677" y="2783840"/>
            <a:ext cx="1290957" cy="486232"/>
          </a:xfrm>
          <a:prstGeom prst="rect">
            <a:avLst/>
          </a:prstGeom>
          <a:noFill/>
          <a:ln>
            <a:solidFill>
              <a:srgbClr val="00A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eployment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EBD1CAB-5AAD-9542-91F3-47751E3167CA}"/>
              </a:ext>
            </a:extLst>
          </p:cNvPr>
          <p:cNvSpPr/>
          <p:nvPr/>
        </p:nvSpPr>
        <p:spPr>
          <a:xfrm>
            <a:off x="1600200" y="2526030"/>
            <a:ext cx="4198698" cy="2846070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kumimoji="1"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eks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集群</a:t>
            </a:r>
          </a:p>
        </p:txBody>
      </p:sp>
      <p:cxnSp>
        <p:nvCxnSpPr>
          <p:cNvPr id="11" name="肘形连接符 10">
            <a:extLst>
              <a:ext uri="{FF2B5EF4-FFF2-40B4-BE49-F238E27FC236}">
                <a16:creationId xmlns:a16="http://schemas.microsoft.com/office/drawing/2014/main" id="{F3F9B45E-DC78-4545-B8A6-DEBB02A66AC8}"/>
              </a:ext>
            </a:extLst>
          </p:cNvPr>
          <p:cNvCxnSpPr>
            <a:cxnSpLocks/>
            <a:stCxn id="7" idx="2"/>
            <a:endCxn id="2" idx="0"/>
          </p:cNvCxnSpPr>
          <p:nvPr/>
        </p:nvCxnSpPr>
        <p:spPr>
          <a:xfrm rot="5400000">
            <a:off x="2740250" y="2979014"/>
            <a:ext cx="661848" cy="1243965"/>
          </a:xfrm>
          <a:prstGeom prst="bentConnector3">
            <a:avLst>
              <a:gd name="adj1" fmla="val 50000"/>
            </a:avLst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肘形连接符 13">
            <a:extLst>
              <a:ext uri="{FF2B5EF4-FFF2-40B4-BE49-F238E27FC236}">
                <a16:creationId xmlns:a16="http://schemas.microsoft.com/office/drawing/2014/main" id="{16D306A4-2ABA-F941-ABBA-8A9EB89ADA17}"/>
              </a:ext>
            </a:extLst>
          </p:cNvPr>
          <p:cNvCxnSpPr>
            <a:cxnSpLocks/>
            <a:stCxn id="7" idx="2"/>
            <a:endCxn id="6" idx="0"/>
          </p:cNvCxnSpPr>
          <p:nvPr/>
        </p:nvCxnSpPr>
        <p:spPr>
          <a:xfrm rot="16200000" flipH="1">
            <a:off x="3984214" y="2979013"/>
            <a:ext cx="661848" cy="1243965"/>
          </a:xfrm>
          <a:prstGeom prst="bentConnector3">
            <a:avLst>
              <a:gd name="adj1" fmla="val 50000"/>
            </a:avLst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肘形连接符 16">
            <a:extLst>
              <a:ext uri="{FF2B5EF4-FFF2-40B4-BE49-F238E27FC236}">
                <a16:creationId xmlns:a16="http://schemas.microsoft.com/office/drawing/2014/main" id="{EFD96A06-2CFA-A041-8064-D878622F9984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rot="5400000">
            <a:off x="3362232" y="3600996"/>
            <a:ext cx="661848" cy="12700"/>
          </a:xfrm>
          <a:prstGeom prst="bentConnector3">
            <a:avLst>
              <a:gd name="adj1" fmla="val 50000"/>
            </a:avLst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EAD0DE1C-D445-E34E-B14C-9116A61DDA87}"/>
              </a:ext>
            </a:extLst>
          </p:cNvPr>
          <p:cNvSpPr txBox="1"/>
          <p:nvPr/>
        </p:nvSpPr>
        <p:spPr>
          <a:xfrm>
            <a:off x="4398446" y="3289999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动分散调度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D7287A46-EB79-4442-81F2-1EAC76C56015}"/>
              </a:ext>
            </a:extLst>
          </p:cNvPr>
          <p:cNvSpPr/>
          <p:nvPr/>
        </p:nvSpPr>
        <p:spPr>
          <a:xfrm>
            <a:off x="6670671" y="3931920"/>
            <a:ext cx="1074420" cy="1108710"/>
          </a:xfrm>
          <a:prstGeom prst="rect">
            <a:avLst/>
          </a:prstGeom>
          <a:solidFill>
            <a:srgbClr val="00A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子网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</a:p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用区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9236313F-5A23-7D49-A5C6-ADF52EBD7D33}"/>
              </a:ext>
            </a:extLst>
          </p:cNvPr>
          <p:cNvSpPr/>
          <p:nvPr/>
        </p:nvSpPr>
        <p:spPr>
          <a:xfrm>
            <a:off x="7914636" y="3931920"/>
            <a:ext cx="1074420" cy="1108710"/>
          </a:xfrm>
          <a:prstGeom prst="rect">
            <a:avLst/>
          </a:prstGeom>
          <a:solidFill>
            <a:srgbClr val="006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子网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</a:t>
            </a:r>
          </a:p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用区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1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1BBCB2C3-7025-FC4E-9C82-BA0A3E57AE6E}"/>
              </a:ext>
            </a:extLst>
          </p:cNvPr>
          <p:cNvSpPr/>
          <p:nvPr/>
        </p:nvSpPr>
        <p:spPr>
          <a:xfrm>
            <a:off x="9158601" y="3931920"/>
            <a:ext cx="1074420" cy="1108710"/>
          </a:xfrm>
          <a:prstGeom prst="rect">
            <a:avLst/>
          </a:prstGeom>
          <a:solidFill>
            <a:srgbClr val="812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子网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</a:t>
            </a:r>
          </a:p>
          <a:p>
            <a:pPr algn="ctr"/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用区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2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EC619C3-E932-F641-9D35-B1D9EF2F6FDF}"/>
              </a:ext>
            </a:extLst>
          </p:cNvPr>
          <p:cNvSpPr/>
          <p:nvPr/>
        </p:nvSpPr>
        <p:spPr>
          <a:xfrm>
            <a:off x="6562403" y="2783840"/>
            <a:ext cx="1290957" cy="486232"/>
          </a:xfrm>
          <a:prstGeom prst="rect">
            <a:avLst/>
          </a:prstGeom>
          <a:noFill/>
          <a:ln>
            <a:solidFill>
              <a:srgbClr val="00A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eployment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A58192B-E59B-AA4F-9BC3-863F7FE21D3D}"/>
              </a:ext>
            </a:extLst>
          </p:cNvPr>
          <p:cNvSpPr/>
          <p:nvPr/>
        </p:nvSpPr>
        <p:spPr>
          <a:xfrm>
            <a:off x="6368220" y="2526030"/>
            <a:ext cx="4181670" cy="2846070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kumimoji="1" lang="en-US" altLang="zh-CN" sz="1200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eks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集群</a:t>
            </a:r>
          </a:p>
        </p:txBody>
      </p:sp>
      <p:cxnSp>
        <p:nvCxnSpPr>
          <p:cNvPr id="47" name="肘形连接符 46">
            <a:extLst>
              <a:ext uri="{FF2B5EF4-FFF2-40B4-BE49-F238E27FC236}">
                <a16:creationId xmlns:a16="http://schemas.microsoft.com/office/drawing/2014/main" id="{A4A22A86-13A5-8745-822F-3B0F74D04987}"/>
              </a:ext>
            </a:extLst>
          </p:cNvPr>
          <p:cNvCxnSpPr>
            <a:cxnSpLocks/>
            <a:stCxn id="45" idx="2"/>
            <a:endCxn id="42" idx="0"/>
          </p:cNvCxnSpPr>
          <p:nvPr/>
        </p:nvCxnSpPr>
        <p:spPr>
          <a:xfrm rot="5400000">
            <a:off x="6876958" y="3600996"/>
            <a:ext cx="661848" cy="1"/>
          </a:xfrm>
          <a:prstGeom prst="bentConnector3">
            <a:avLst>
              <a:gd name="adj1" fmla="val 50000"/>
            </a:avLst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肘形连接符 47">
            <a:extLst>
              <a:ext uri="{FF2B5EF4-FFF2-40B4-BE49-F238E27FC236}">
                <a16:creationId xmlns:a16="http://schemas.microsoft.com/office/drawing/2014/main" id="{549F2E29-1337-9541-BBDA-A478D3CAC2D3}"/>
              </a:ext>
            </a:extLst>
          </p:cNvPr>
          <p:cNvCxnSpPr>
            <a:cxnSpLocks/>
            <a:stCxn id="60" idx="2"/>
            <a:endCxn id="44" idx="0"/>
          </p:cNvCxnSpPr>
          <p:nvPr/>
        </p:nvCxnSpPr>
        <p:spPr>
          <a:xfrm rot="16200000" flipH="1">
            <a:off x="9043767" y="3279875"/>
            <a:ext cx="658609" cy="645479"/>
          </a:xfrm>
          <a:prstGeom prst="bentConnector3">
            <a:avLst>
              <a:gd name="adj1" fmla="val 50000"/>
            </a:avLst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肘形连接符 48">
            <a:extLst>
              <a:ext uri="{FF2B5EF4-FFF2-40B4-BE49-F238E27FC236}">
                <a16:creationId xmlns:a16="http://schemas.microsoft.com/office/drawing/2014/main" id="{FFAF1946-C849-B14F-A66F-F0C63717CA50}"/>
              </a:ext>
            </a:extLst>
          </p:cNvPr>
          <p:cNvCxnSpPr>
            <a:cxnSpLocks/>
            <a:stCxn id="60" idx="2"/>
            <a:endCxn id="43" idx="0"/>
          </p:cNvCxnSpPr>
          <p:nvPr/>
        </p:nvCxnSpPr>
        <p:spPr>
          <a:xfrm rot="5400000">
            <a:off x="8421785" y="3303372"/>
            <a:ext cx="658609" cy="598486"/>
          </a:xfrm>
          <a:prstGeom prst="bentConnector3">
            <a:avLst>
              <a:gd name="adj1" fmla="val 50000"/>
            </a:avLst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文本框 49">
            <a:extLst>
              <a:ext uri="{FF2B5EF4-FFF2-40B4-BE49-F238E27FC236}">
                <a16:creationId xmlns:a16="http://schemas.microsoft.com/office/drawing/2014/main" id="{00C25361-0B44-4847-8262-AFBA93459A80}"/>
              </a:ext>
            </a:extLst>
          </p:cNvPr>
          <p:cNvSpPr txBox="1"/>
          <p:nvPr/>
        </p:nvSpPr>
        <p:spPr>
          <a:xfrm>
            <a:off x="9157136" y="3289999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子网亲和调度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B6D9FCEF-97E4-BF4B-8EBD-7422CBA83777}"/>
              </a:ext>
            </a:extLst>
          </p:cNvPr>
          <p:cNvSpPr/>
          <p:nvPr/>
        </p:nvSpPr>
        <p:spPr>
          <a:xfrm>
            <a:off x="8404853" y="2787079"/>
            <a:ext cx="1290957" cy="486232"/>
          </a:xfrm>
          <a:prstGeom prst="rect">
            <a:avLst/>
          </a:prstGeom>
          <a:noFill/>
          <a:ln>
            <a:solidFill>
              <a:srgbClr val="00A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eployment</a:t>
            </a: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B</a:t>
            </a:r>
            <a:endParaRPr kumimoji="1"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5EE8E026-1E01-6E4D-8C15-3B4F319C1869}"/>
              </a:ext>
            </a:extLst>
          </p:cNvPr>
          <p:cNvSpPr txBox="1"/>
          <p:nvPr/>
        </p:nvSpPr>
        <p:spPr>
          <a:xfrm>
            <a:off x="7275866" y="3283841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指定子网调度</a:t>
            </a:r>
          </a:p>
        </p:txBody>
      </p:sp>
    </p:spTree>
    <p:extLst>
      <p:ext uri="{BB962C8B-B14F-4D97-AF65-F5344CB8AC3E}">
        <p14:creationId xmlns:p14="http://schemas.microsoft.com/office/powerpoint/2010/main" val="37767239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4B52AE24-AC78-4FDE-ABAA-297686F0694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912" y="1255331"/>
            <a:ext cx="7359253" cy="5613662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007EB2ED-4CEC-49E1-96CC-39B3D416934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480" y="1256899"/>
            <a:ext cx="7359253" cy="5613662"/>
          </a:xfrm>
          <a:prstGeom prst="rect">
            <a:avLst/>
          </a:prstGeom>
        </p:spPr>
      </p:pic>
      <p:sp>
        <p:nvSpPr>
          <p:cNvPr id="9" name="TextBox 2">
            <a:extLst>
              <a:ext uri="{FF2B5EF4-FFF2-40B4-BE49-F238E27FC236}">
                <a16:creationId xmlns:a16="http://schemas.microsoft.com/office/drawing/2014/main" id="{47E7573E-3FDD-764C-8134-D19F448896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4051" y="1961927"/>
            <a:ext cx="12717302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eaLnBrk="1" hangingPunct="1"/>
            <a:r>
              <a:rPr lang="zh-CN" altLang="en-US" sz="4800" dirty="0">
                <a:solidFill>
                  <a:schemeClr val="bg1"/>
                </a:solidFill>
                <a:latin typeface="TTTGB Medium" charset="-122"/>
                <a:ea typeface="TTTGB Medium" charset="-122"/>
                <a:cs typeface="TTTGB Medium" charset="-122"/>
              </a:rPr>
              <a:t>弹性容器服务 </a:t>
            </a:r>
            <a:r>
              <a:rPr lang="en-US" altLang="zh-CN" sz="4800" dirty="0">
                <a:solidFill>
                  <a:schemeClr val="bg1"/>
                </a:solidFill>
                <a:latin typeface="TTTGB Medium" charset="-122"/>
                <a:ea typeface="TTTGB Medium" charset="-122"/>
                <a:cs typeface="TTTGB Medium" charset="-122"/>
              </a:rPr>
              <a:t>EKS</a:t>
            </a: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7B5F0EA6-F6E6-F940-B6CB-B1F0C32DB989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1194051" y="2854838"/>
            <a:ext cx="15102364" cy="896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lnSpc>
                <a:spcPct val="125000"/>
              </a:lnSpc>
            </a:pPr>
            <a:r>
              <a:rPr lang="zh-CN" altLang="en-US" sz="2400" dirty="0">
                <a:solidFill>
                  <a:schemeClr val="bg1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设计理念与产品架构</a:t>
            </a:r>
          </a:p>
          <a:p>
            <a:pPr>
              <a:lnSpc>
                <a:spcPct val="125000"/>
              </a:lnSpc>
            </a:pPr>
            <a:endParaRPr lang="en-US" altLang="zh-CN" sz="2400" dirty="0">
              <a:solidFill>
                <a:schemeClr val="bg1"/>
              </a:solidFill>
              <a:latin typeface="TTTGB Medium" charset="-122"/>
              <a:ea typeface="TTTGB Medium" charset="-122"/>
              <a:cs typeface="TTTGB Medium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999509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</a:rPr>
              <a:t>如何监控</a:t>
            </a:r>
            <a:endParaRPr lang="zh-CN" altLang="en-US" dirty="0">
              <a:solidFill>
                <a:srgbClr val="FFFFFF"/>
              </a:solidFill>
              <a:latin typeface="TTTGB Medium" panose="020C06030202040F0204" pitchFamily="34" charset="-122"/>
              <a:ea typeface="TTTGB Medium" panose="020C06030202040F0204" pitchFamily="34" charset="-122"/>
              <a:cs typeface="+mn-ea"/>
              <a:sym typeface="+mn-lt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ACE60E0-AA51-CF4A-B249-41A2FB4FAE6C}"/>
              </a:ext>
            </a:extLst>
          </p:cNvPr>
          <p:cNvSpPr/>
          <p:nvPr/>
        </p:nvSpPr>
        <p:spPr>
          <a:xfrm>
            <a:off x="848991" y="1170175"/>
            <a:ext cx="8005641" cy="3476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础监控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常用计算、网络、存储指标，并自动以容器、服务、集群维度聚合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rometheus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监控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暴露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9100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端口，支持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rometheus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采集指标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采集自定义指标</a:t>
            </a:r>
            <a:endParaRPr lang="en-US" altLang="zh-CN" sz="1600" b="1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指定自定义指标采集地址，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会自动采集并上报，不额外消耗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资源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自动采集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内日志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在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环境变量中指定日志路径和消费端，支持自动采集上报，不额外消耗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资源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486242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>
            <a:extLst>
              <a:ext uri="{FF2B5EF4-FFF2-40B4-BE49-F238E27FC236}">
                <a16:creationId xmlns:a16="http://schemas.microsoft.com/office/drawing/2014/main" id="{1AB4EF4D-A360-41BE-A5C2-F63AF4AA1D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" y="7786"/>
            <a:ext cx="12189185" cy="6856417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</p:pic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3BF9DCFF-D1E2-4E50-A206-D04F24F9D4A5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2039645" y="3381804"/>
            <a:ext cx="5765937" cy="435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</a:defRPr>
            </a:lvl9pPr>
          </a:lstStyle>
          <a:p>
            <a:pPr algn="ctr">
              <a:lnSpc>
                <a:spcPct val="125000"/>
              </a:lnSpc>
            </a:pPr>
            <a:r>
              <a:rPr lang="zh-CN" altLang="en-US" sz="2400" dirty="0">
                <a:solidFill>
                  <a:schemeClr val="bg1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微软雅黑" panose="020B0503020204020204" pitchFamily="34" charset="-122"/>
              </a:rPr>
              <a:t>感谢聆听！</a:t>
            </a:r>
            <a:endParaRPr lang="en-US" altLang="zh-CN" sz="2400" dirty="0">
              <a:solidFill>
                <a:schemeClr val="bg1"/>
              </a:solidFill>
              <a:latin typeface="TTTGB Medium" panose="020C06030202040F0204" pitchFamily="34" charset="-122"/>
              <a:ea typeface="TTTGB Medium" panose="020C06030202040F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4592C694-F16A-4846-8084-1C188F7CB266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2039646" y="2664981"/>
            <a:ext cx="5765937" cy="652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</a:defRPr>
            </a:lvl9pPr>
          </a:lstStyle>
          <a:p>
            <a:pPr algn="ctr">
              <a:lnSpc>
                <a:spcPct val="125000"/>
              </a:lnSpc>
            </a:pPr>
            <a:r>
              <a:rPr lang="en-US" altLang="zh-CN" sz="3600" dirty="0">
                <a:solidFill>
                  <a:schemeClr val="bg1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微软雅黑" panose="020B0503020204020204" pitchFamily="34" charset="-122"/>
              </a:rPr>
              <a:t>Thank</a:t>
            </a:r>
            <a:r>
              <a:rPr lang="zh-CN" altLang="en-US" sz="3600" dirty="0">
                <a:solidFill>
                  <a:schemeClr val="bg1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sz="3600" dirty="0">
                <a:solidFill>
                  <a:schemeClr val="bg1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微软雅黑" panose="020B0503020204020204" pitchFamily="34" charset="-122"/>
              </a:rPr>
              <a:t>you</a:t>
            </a:r>
            <a:r>
              <a:rPr lang="zh-CN" altLang="en-US" sz="3600" dirty="0">
                <a:solidFill>
                  <a:schemeClr val="bg1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微软雅黑" panose="020B0503020204020204" pitchFamily="34" charset="-122"/>
              </a:rPr>
              <a:t>！</a:t>
            </a:r>
            <a:endParaRPr lang="en-US" altLang="zh-CN" sz="3600" dirty="0">
              <a:solidFill>
                <a:schemeClr val="bg1"/>
              </a:solidFill>
              <a:latin typeface="TTTGB Medium" panose="020C06030202040F0204" pitchFamily="34" charset="-122"/>
              <a:ea typeface="TTTGB Medium" panose="020C06030202040F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7192776-B579-1242-A95E-427708381E1A}"/>
              </a:ext>
            </a:extLst>
          </p:cNvPr>
          <p:cNvSpPr txBox="1"/>
          <p:nvPr/>
        </p:nvSpPr>
        <p:spPr>
          <a:xfrm>
            <a:off x="7805583" y="4191153"/>
            <a:ext cx="2886262" cy="526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0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了解行业动向，交流容器技术</a:t>
            </a:r>
            <a:endParaRPr kumimoji="1" lang="en-US" altLang="zh-CN" sz="10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0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请扫二维码关注腾讯云容器团队</a:t>
            </a:r>
            <a:endParaRPr kumimoji="1" lang="en-US" altLang="zh-CN" sz="10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B9A260E8-380F-7A4F-A0A1-C7B1B4D0BB6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3037" y="1959799"/>
            <a:ext cx="2231354" cy="2231354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简介</a:t>
            </a:r>
            <a:endParaRPr lang="en-US" altLang="zh-CN" dirty="0">
              <a:solidFill>
                <a:srgbClr val="FFFFFF"/>
              </a:solidFill>
              <a:latin typeface="TTTGB Medium" panose="020C06030202040F0204" pitchFamily="34" charset="-122"/>
              <a:ea typeface="TTTGB Medium" panose="020C06030202040F0204" pitchFamily="34" charset="-122"/>
              <a:cs typeface="+mn-ea"/>
              <a:sym typeface="+mn-l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B29C2E3-53D3-904C-BC84-D54E8ED49262}"/>
              </a:ext>
            </a:extLst>
          </p:cNvPr>
          <p:cNvSpPr txBox="1"/>
          <p:nvPr/>
        </p:nvSpPr>
        <p:spPr>
          <a:xfrm>
            <a:off x="4157511" y="2191322"/>
            <a:ext cx="7163424" cy="2357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弹性容器服务（</a:t>
            </a:r>
            <a:r>
              <a:rPr kumimoji="1" lang="en" altLang="zh-C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lastic</a:t>
            </a:r>
            <a:r>
              <a:rPr kumimoji="1"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" altLang="zh-C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ubernetes</a:t>
            </a:r>
            <a:r>
              <a:rPr kumimoji="1"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" altLang="zh-C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ervice</a:t>
            </a:r>
            <a:r>
              <a:rPr kumimoji="1" lang="zh-CN" altLang="e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en" altLang="zh-C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KS</a:t>
            </a:r>
            <a:r>
              <a:rPr kumimoji="1" lang="zh-CN" altLang="e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kumimoji="1" lang="en-US" altLang="zh-CN" sz="16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45720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无须用户在 </a:t>
            </a:r>
            <a:r>
              <a:rPr kumimoji="1" lang="en-US" altLang="zh-C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8S</a:t>
            </a:r>
            <a:r>
              <a:rPr kumimoji="1"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集群部署节点，即可运行工作负载的容器服务模式。</a:t>
            </a:r>
            <a:endParaRPr kumimoji="1" lang="en-US" altLang="zh-CN" sz="16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45720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兼容原生 </a:t>
            </a:r>
            <a:r>
              <a:rPr kumimoji="1" lang="en" altLang="zh-C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ubernetes</a:t>
            </a:r>
            <a:r>
              <a:rPr kumimoji="1"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kumimoji="1" lang="en-US" altLang="zh-C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PI</a:t>
            </a:r>
            <a:r>
              <a:rPr kumimoji="1" lang="zh-CN" altLang="en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kumimoji="1"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使用原生方式创建、管理容器，集成腾讯云的存储、网络等产品，开箱即用。</a:t>
            </a:r>
            <a:endParaRPr kumimoji="1" lang="en-US" altLang="zh-CN" sz="16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45720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按容器使用的资源量计费，用户间容器完全隔离。</a:t>
            </a:r>
            <a:endParaRPr kumimoji="1" lang="en-US" altLang="zh-CN" sz="16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4" name="直线连接符 3">
            <a:extLst>
              <a:ext uri="{FF2B5EF4-FFF2-40B4-BE49-F238E27FC236}">
                <a16:creationId xmlns:a16="http://schemas.microsoft.com/office/drawing/2014/main" id="{2FC5FE35-C33D-8844-8836-DF29DFA5F6C8}"/>
              </a:ext>
            </a:extLst>
          </p:cNvPr>
          <p:cNvCxnSpPr>
            <a:cxnSpLocks/>
          </p:cNvCxnSpPr>
          <p:nvPr/>
        </p:nvCxnSpPr>
        <p:spPr>
          <a:xfrm>
            <a:off x="3371618" y="1684188"/>
            <a:ext cx="0" cy="3665052"/>
          </a:xfrm>
          <a:prstGeom prst="line">
            <a:avLst/>
          </a:prstGeom>
          <a:ln w="9525">
            <a:solidFill>
              <a:srgbClr val="01B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形 4">
            <a:extLst>
              <a:ext uri="{FF2B5EF4-FFF2-40B4-BE49-F238E27FC236}">
                <a16:creationId xmlns:a16="http://schemas.microsoft.com/office/drawing/2014/main" id="{E9430DF6-BEA9-CC46-ABDE-3CD4F045F8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00502" y="2754248"/>
            <a:ext cx="1231268" cy="1231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628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架构</a:t>
            </a:r>
            <a:endParaRPr lang="en-US" altLang="zh-CN" dirty="0">
              <a:solidFill>
                <a:srgbClr val="FFFFFF"/>
              </a:solidFill>
              <a:latin typeface="TTTGB Medium" panose="020C06030202040F0204" pitchFamily="34" charset="-122"/>
              <a:ea typeface="TTTGB Medium" panose="020C06030202040F0204" pitchFamily="34" charset="-122"/>
              <a:cs typeface="+mn-ea"/>
              <a:sym typeface="+mn-lt"/>
            </a:endParaRPr>
          </a:p>
        </p:txBody>
      </p:sp>
      <p:sp>
        <p:nvSpPr>
          <p:cNvPr id="3" name="矩形: 圆角 271">
            <a:extLst>
              <a:ext uri="{FF2B5EF4-FFF2-40B4-BE49-F238E27FC236}">
                <a16:creationId xmlns:a16="http://schemas.microsoft.com/office/drawing/2014/main" id="{1A2A08B1-A179-3A44-A247-D3A129734939}"/>
              </a:ext>
            </a:extLst>
          </p:cNvPr>
          <p:cNvSpPr/>
          <p:nvPr/>
        </p:nvSpPr>
        <p:spPr>
          <a:xfrm>
            <a:off x="3340961" y="2561648"/>
            <a:ext cx="6841268" cy="1287458"/>
          </a:xfrm>
          <a:prstGeom prst="rect">
            <a:avLst/>
          </a:prstGeom>
          <a:solidFill>
            <a:schemeClr val="bg2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etaCluster</a:t>
            </a:r>
            <a:endParaRPr lang="en-US" altLang="zh-CN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DFB9C546-F045-134B-9181-43787FCAB94F}"/>
              </a:ext>
            </a:extLst>
          </p:cNvPr>
          <p:cNvSpPr/>
          <p:nvPr/>
        </p:nvSpPr>
        <p:spPr>
          <a:xfrm>
            <a:off x="3447043" y="2701525"/>
            <a:ext cx="3281200" cy="861357"/>
          </a:xfrm>
          <a:prstGeom prst="rect">
            <a:avLst/>
          </a:prstGeom>
          <a:solidFill>
            <a:srgbClr val="0154EC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luster</a:t>
            </a:r>
            <a:r>
              <a: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aster A</a:t>
            </a:r>
            <a:endParaRPr lang="zh-CN" altLang="en-US" sz="10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92F3E60-09F5-4F47-B825-F45651214421}"/>
              </a:ext>
            </a:extLst>
          </p:cNvPr>
          <p:cNvSpPr/>
          <p:nvPr/>
        </p:nvSpPr>
        <p:spPr>
          <a:xfrm>
            <a:off x="3340961" y="4029111"/>
            <a:ext cx="6841268" cy="2155054"/>
          </a:xfrm>
          <a:prstGeom prst="rect">
            <a:avLst/>
          </a:prstGeom>
          <a:solidFill>
            <a:schemeClr val="bg2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source</a:t>
            </a:r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ol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0922A5E7-ABB3-AF42-A34F-B3B25C4019B2}"/>
              </a:ext>
            </a:extLst>
          </p:cNvPr>
          <p:cNvGrpSpPr/>
          <p:nvPr/>
        </p:nvGrpSpPr>
        <p:grpSpPr>
          <a:xfrm>
            <a:off x="3776448" y="4406038"/>
            <a:ext cx="738952" cy="523100"/>
            <a:chOff x="6009978" y="5761147"/>
            <a:chExt cx="1182419" cy="837028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9244B014-306E-FC4F-A0AA-A9A0E20D2B63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" name="圆角矩形 7">
              <a:extLst>
                <a:ext uri="{FF2B5EF4-FFF2-40B4-BE49-F238E27FC236}">
                  <a16:creationId xmlns:a16="http://schemas.microsoft.com/office/drawing/2014/main" id="{F67D1F1F-CCE0-E04B-928A-6B7D96A123D4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9" name="矩形 8">
            <a:extLst>
              <a:ext uri="{FF2B5EF4-FFF2-40B4-BE49-F238E27FC236}">
                <a16:creationId xmlns:a16="http://schemas.microsoft.com/office/drawing/2014/main" id="{D421FC78-4249-8D45-919F-50FC4D46A520}"/>
              </a:ext>
            </a:extLst>
          </p:cNvPr>
          <p:cNvSpPr/>
          <p:nvPr/>
        </p:nvSpPr>
        <p:spPr>
          <a:xfrm>
            <a:off x="3569691" y="4209117"/>
            <a:ext cx="3072182" cy="1749771"/>
          </a:xfrm>
          <a:prstGeom prst="rect">
            <a:avLst/>
          </a:prstGeom>
          <a:noFill/>
          <a:ln>
            <a:solidFill>
              <a:srgbClr val="0154E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User Cluster A</a:t>
            </a:r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PC</a:t>
            </a:r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C5193C5-2157-EF45-B53F-6D61C61A1232}"/>
              </a:ext>
            </a:extLst>
          </p:cNvPr>
          <p:cNvSpPr/>
          <p:nvPr/>
        </p:nvSpPr>
        <p:spPr>
          <a:xfrm>
            <a:off x="2275240" y="1223904"/>
            <a:ext cx="981302" cy="1207613"/>
          </a:xfrm>
          <a:prstGeom prst="rect">
            <a:avLst/>
          </a:prstGeom>
          <a:solidFill>
            <a:schemeClr val="accent3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原生接入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B347ED4B-7D23-B848-B955-F113755D38C6}"/>
              </a:ext>
            </a:extLst>
          </p:cNvPr>
          <p:cNvSpPr/>
          <p:nvPr/>
        </p:nvSpPr>
        <p:spPr>
          <a:xfrm>
            <a:off x="2275239" y="2561648"/>
            <a:ext cx="981302" cy="1297189"/>
          </a:xfrm>
          <a:prstGeom prst="rect">
            <a:avLst/>
          </a:prstGeom>
          <a:solidFill>
            <a:schemeClr val="accent3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托管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47C723-1E96-064A-8FA5-477E4CFFB428}"/>
              </a:ext>
            </a:extLst>
          </p:cNvPr>
          <p:cNvSpPr/>
          <p:nvPr/>
        </p:nvSpPr>
        <p:spPr>
          <a:xfrm>
            <a:off x="2275239" y="4029111"/>
            <a:ext cx="981302" cy="2144970"/>
          </a:xfrm>
          <a:prstGeom prst="rect">
            <a:avLst/>
          </a:prstGeom>
          <a:solidFill>
            <a:schemeClr val="accent3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无服务器</a:t>
            </a:r>
            <a:endParaRPr kumimoji="1" lang="en-US" altLang="zh-CN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共享资源池</a:t>
            </a:r>
            <a:endParaRPr kumimoji="1" lang="en-US" altLang="zh-CN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安全隔离</a:t>
            </a:r>
            <a:endParaRPr kumimoji="1" lang="en-US" altLang="zh-CN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en-US" altLang="zh-CN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PC</a:t>
            </a:r>
            <a:r>
              <a:rPr kumimoji="1" lang="zh-CN" altLang="en-US" sz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互通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A6F1B4F1-E67E-DF45-9CD3-9A801E4EEC3C}"/>
              </a:ext>
            </a:extLst>
          </p:cNvPr>
          <p:cNvSpPr/>
          <p:nvPr/>
        </p:nvSpPr>
        <p:spPr>
          <a:xfrm>
            <a:off x="3340961" y="2033959"/>
            <a:ext cx="2155193" cy="4009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nsole</a:t>
            </a:r>
          </a:p>
        </p:txBody>
      </p:sp>
      <p:pic>
        <p:nvPicPr>
          <p:cNvPr id="15" name="图形 14" descr="Users">
            <a:extLst>
              <a:ext uri="{FF2B5EF4-FFF2-40B4-BE49-F238E27FC236}">
                <a16:creationId xmlns:a16="http://schemas.microsoft.com/office/drawing/2014/main" id="{814B0171-4E58-564F-99C1-6DE079632A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6011" y="1188641"/>
            <a:ext cx="593589" cy="547887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85DB37DD-5060-7042-90BE-20556D6868B7}"/>
              </a:ext>
            </a:extLst>
          </p:cNvPr>
          <p:cNvSpPr txBox="1"/>
          <p:nvPr/>
        </p:nvSpPr>
        <p:spPr>
          <a:xfrm>
            <a:off x="6511541" y="1637194"/>
            <a:ext cx="5212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Users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02257D9A-8B1F-5649-8233-DDBFA3CED919}"/>
              </a:ext>
            </a:extLst>
          </p:cNvPr>
          <p:cNvSpPr/>
          <p:nvPr/>
        </p:nvSpPr>
        <p:spPr>
          <a:xfrm>
            <a:off x="5695859" y="2031544"/>
            <a:ext cx="2155193" cy="3999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ubernetes API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E9B2F96C-0CE5-C040-AA0A-0D0C7F417E22}"/>
              </a:ext>
            </a:extLst>
          </p:cNvPr>
          <p:cNvSpPr/>
          <p:nvPr/>
        </p:nvSpPr>
        <p:spPr>
          <a:xfrm>
            <a:off x="8027036" y="2031544"/>
            <a:ext cx="2155193" cy="4034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ubectl</a:t>
            </a:r>
            <a:endParaRPr kumimoji="1" lang="en-US" altLang="zh-CN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9" name="直接箭头连接符 27">
            <a:extLst>
              <a:ext uri="{FF2B5EF4-FFF2-40B4-BE49-F238E27FC236}">
                <a16:creationId xmlns:a16="http://schemas.microsoft.com/office/drawing/2014/main" id="{26A13F57-296C-494F-8A99-5C556E516060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>
            <a:off x="6772190" y="1883415"/>
            <a:ext cx="1266" cy="148129"/>
          </a:xfrm>
          <a:prstGeom prst="straightConnector1">
            <a:avLst/>
          </a:prstGeom>
          <a:ln w="9525">
            <a:solidFill>
              <a:schemeClr val="bg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曲线连接符 19">
            <a:extLst>
              <a:ext uri="{FF2B5EF4-FFF2-40B4-BE49-F238E27FC236}">
                <a16:creationId xmlns:a16="http://schemas.microsoft.com/office/drawing/2014/main" id="{7A865579-03A2-6647-AF66-5F647E39E405}"/>
              </a:ext>
            </a:extLst>
          </p:cNvPr>
          <p:cNvCxnSpPr>
            <a:cxnSpLocks/>
            <a:stCxn id="14" idx="0"/>
            <a:endCxn id="16" idx="2"/>
          </p:cNvCxnSpPr>
          <p:nvPr/>
        </p:nvCxnSpPr>
        <p:spPr>
          <a:xfrm rot="5400000" flipH="1" flipV="1">
            <a:off x="5520102" y="781871"/>
            <a:ext cx="150544" cy="2353632"/>
          </a:xfrm>
          <a:prstGeom prst="curvedConnector3">
            <a:avLst>
              <a:gd name="adj1" fmla="val 50000"/>
            </a:avLst>
          </a:prstGeom>
          <a:ln w="9525">
            <a:solidFill>
              <a:schemeClr val="bg2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曲线连接符 20">
            <a:extLst>
              <a:ext uri="{FF2B5EF4-FFF2-40B4-BE49-F238E27FC236}">
                <a16:creationId xmlns:a16="http://schemas.microsoft.com/office/drawing/2014/main" id="{07CA78C4-5F06-204D-8C63-5243BF655123}"/>
              </a:ext>
            </a:extLst>
          </p:cNvPr>
          <p:cNvCxnSpPr>
            <a:cxnSpLocks/>
            <a:stCxn id="18" idx="0"/>
            <a:endCxn id="16" idx="2"/>
          </p:cNvCxnSpPr>
          <p:nvPr/>
        </p:nvCxnSpPr>
        <p:spPr>
          <a:xfrm rot="16200000" flipV="1">
            <a:off x="7864348" y="791258"/>
            <a:ext cx="148129" cy="2332443"/>
          </a:xfrm>
          <a:prstGeom prst="curvedConnector3">
            <a:avLst>
              <a:gd name="adj1" fmla="val 50000"/>
            </a:avLst>
          </a:prstGeom>
          <a:ln w="9525">
            <a:solidFill>
              <a:schemeClr val="bg2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: 圆角 24">
            <a:extLst>
              <a:ext uri="{FF2B5EF4-FFF2-40B4-BE49-F238E27FC236}">
                <a16:creationId xmlns:a16="http://schemas.microsoft.com/office/drawing/2014/main" id="{4F3A39C5-701F-0049-A94A-85ECA129361D}"/>
              </a:ext>
            </a:extLst>
          </p:cNvPr>
          <p:cNvSpPr/>
          <p:nvPr/>
        </p:nvSpPr>
        <p:spPr>
          <a:xfrm>
            <a:off x="4580594" y="2768749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piserver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C142F639-3E2D-414C-8C5A-F57C294EC7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619717"/>
            <a:ext cx="254101" cy="234537"/>
          </a:xfrm>
          <a:prstGeom prst="rect">
            <a:avLst/>
          </a:prstGeom>
          <a:ln>
            <a:noFill/>
          </a:ln>
        </p:spPr>
      </p:pic>
      <p:sp>
        <p:nvSpPr>
          <p:cNvPr id="24" name="矩形: 圆角 24">
            <a:extLst>
              <a:ext uri="{FF2B5EF4-FFF2-40B4-BE49-F238E27FC236}">
                <a16:creationId xmlns:a16="http://schemas.microsoft.com/office/drawing/2014/main" id="{8AA0C29F-A5DD-D14A-8AC0-CF78E05A171F}"/>
              </a:ext>
            </a:extLst>
          </p:cNvPr>
          <p:cNvSpPr/>
          <p:nvPr/>
        </p:nvSpPr>
        <p:spPr>
          <a:xfrm>
            <a:off x="3491176" y="2768749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组件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2BD768C8-7676-224D-84AD-35B4AEBB7762}"/>
              </a:ext>
            </a:extLst>
          </p:cNvPr>
          <p:cNvSpPr/>
          <p:nvPr/>
        </p:nvSpPr>
        <p:spPr>
          <a:xfrm>
            <a:off x="5660626" y="2768749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tcd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" name="矩形: 圆角 24">
            <a:extLst>
              <a:ext uri="{FF2B5EF4-FFF2-40B4-BE49-F238E27FC236}">
                <a16:creationId xmlns:a16="http://schemas.microsoft.com/office/drawing/2014/main" id="{62B47222-9527-734B-A25E-D29EB981D59E}"/>
              </a:ext>
            </a:extLst>
          </p:cNvPr>
          <p:cNvSpPr/>
          <p:nvPr/>
        </p:nvSpPr>
        <p:spPr>
          <a:xfrm>
            <a:off x="4675836" y="2863991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piserver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7" name="矩形: 圆角 24">
            <a:extLst>
              <a:ext uri="{FF2B5EF4-FFF2-40B4-BE49-F238E27FC236}">
                <a16:creationId xmlns:a16="http://schemas.microsoft.com/office/drawing/2014/main" id="{8F3D45E3-E6E8-E142-B38D-28085F4D49D8}"/>
              </a:ext>
            </a:extLst>
          </p:cNvPr>
          <p:cNvSpPr/>
          <p:nvPr/>
        </p:nvSpPr>
        <p:spPr>
          <a:xfrm>
            <a:off x="3586418" y="2863991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组件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8" name="矩形: 圆角 24">
            <a:extLst>
              <a:ext uri="{FF2B5EF4-FFF2-40B4-BE49-F238E27FC236}">
                <a16:creationId xmlns:a16="http://schemas.microsoft.com/office/drawing/2014/main" id="{DABFF787-C8FE-6749-8648-97D1AD9E5451}"/>
              </a:ext>
            </a:extLst>
          </p:cNvPr>
          <p:cNvSpPr/>
          <p:nvPr/>
        </p:nvSpPr>
        <p:spPr>
          <a:xfrm>
            <a:off x="5755868" y="2863991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tcd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" name="矩形: 圆角 24">
            <a:extLst>
              <a:ext uri="{FF2B5EF4-FFF2-40B4-BE49-F238E27FC236}">
                <a16:creationId xmlns:a16="http://schemas.microsoft.com/office/drawing/2014/main" id="{D179919B-3F71-E341-BBCB-A518A396ED42}"/>
              </a:ext>
            </a:extLst>
          </p:cNvPr>
          <p:cNvSpPr/>
          <p:nvPr/>
        </p:nvSpPr>
        <p:spPr>
          <a:xfrm>
            <a:off x="4771078" y="2959233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piserver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" name="矩形: 圆角 24">
            <a:extLst>
              <a:ext uri="{FF2B5EF4-FFF2-40B4-BE49-F238E27FC236}">
                <a16:creationId xmlns:a16="http://schemas.microsoft.com/office/drawing/2014/main" id="{DA5CF2D0-4E5B-E64A-86D5-FCFCEC09C714}"/>
              </a:ext>
            </a:extLst>
          </p:cNvPr>
          <p:cNvSpPr/>
          <p:nvPr/>
        </p:nvSpPr>
        <p:spPr>
          <a:xfrm>
            <a:off x="3681660" y="2959233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组件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矩形: 圆角 24">
            <a:extLst>
              <a:ext uri="{FF2B5EF4-FFF2-40B4-BE49-F238E27FC236}">
                <a16:creationId xmlns:a16="http://schemas.microsoft.com/office/drawing/2014/main" id="{7D92D082-DED7-0741-97CF-43044E32F2A4}"/>
              </a:ext>
            </a:extLst>
          </p:cNvPr>
          <p:cNvSpPr/>
          <p:nvPr/>
        </p:nvSpPr>
        <p:spPr>
          <a:xfrm>
            <a:off x="5851111" y="2959233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tcd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3510F5A9-BCDF-6346-93F7-9D3C8490E8A1}"/>
              </a:ext>
            </a:extLst>
          </p:cNvPr>
          <p:cNvGrpSpPr/>
          <p:nvPr/>
        </p:nvGrpSpPr>
        <p:grpSpPr>
          <a:xfrm>
            <a:off x="4737094" y="4408629"/>
            <a:ext cx="738952" cy="523100"/>
            <a:chOff x="6009978" y="5761147"/>
            <a:chExt cx="1182419" cy="837028"/>
          </a:xfrm>
        </p:grpSpPr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5C5BA8BA-8A8B-1A4E-93C2-F7F7BE55C7B5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4" name="圆角矩形 33">
              <a:extLst>
                <a:ext uri="{FF2B5EF4-FFF2-40B4-BE49-F238E27FC236}">
                  <a16:creationId xmlns:a16="http://schemas.microsoft.com/office/drawing/2014/main" id="{A623539E-24A7-9746-AC7C-6BADB0A20270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FD5DAB64-34E4-2041-8E81-49F6F6FF696D}"/>
              </a:ext>
            </a:extLst>
          </p:cNvPr>
          <p:cNvGrpSpPr/>
          <p:nvPr/>
        </p:nvGrpSpPr>
        <p:grpSpPr>
          <a:xfrm>
            <a:off x="5681142" y="4406038"/>
            <a:ext cx="738952" cy="523100"/>
            <a:chOff x="6009978" y="5761147"/>
            <a:chExt cx="1182419" cy="837028"/>
          </a:xfrm>
        </p:grpSpPr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C2650F2C-0CF4-3F4A-B1D5-02FC613F9A45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7" name="圆角矩形 36">
              <a:extLst>
                <a:ext uri="{FF2B5EF4-FFF2-40B4-BE49-F238E27FC236}">
                  <a16:creationId xmlns:a16="http://schemas.microsoft.com/office/drawing/2014/main" id="{A6B74144-1326-A34B-9047-A3A63CEA95CB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CD9F9601-1E3D-BC46-AFD8-74FC98EF4456}"/>
              </a:ext>
            </a:extLst>
          </p:cNvPr>
          <p:cNvGrpSpPr/>
          <p:nvPr/>
        </p:nvGrpSpPr>
        <p:grpSpPr>
          <a:xfrm>
            <a:off x="3773934" y="5109143"/>
            <a:ext cx="738952" cy="523100"/>
            <a:chOff x="6009978" y="5761147"/>
            <a:chExt cx="1182419" cy="837028"/>
          </a:xfrm>
        </p:grpSpPr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BA887A87-8446-8346-9DE9-E0858DEC45BF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0" name="圆角矩形 39">
              <a:extLst>
                <a:ext uri="{FF2B5EF4-FFF2-40B4-BE49-F238E27FC236}">
                  <a16:creationId xmlns:a16="http://schemas.microsoft.com/office/drawing/2014/main" id="{C9BA9DE6-4FEB-1346-B1ED-4679F799AC13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985B41D7-8A18-2040-81AD-8792C51BF64E}"/>
              </a:ext>
            </a:extLst>
          </p:cNvPr>
          <p:cNvGrpSpPr/>
          <p:nvPr/>
        </p:nvGrpSpPr>
        <p:grpSpPr>
          <a:xfrm>
            <a:off x="4734580" y="5111734"/>
            <a:ext cx="738952" cy="523100"/>
            <a:chOff x="6009978" y="5761147"/>
            <a:chExt cx="1182419" cy="837028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C04E9EFE-4E88-5841-8778-81365DF7C92C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3" name="圆角矩形 42">
              <a:extLst>
                <a:ext uri="{FF2B5EF4-FFF2-40B4-BE49-F238E27FC236}">
                  <a16:creationId xmlns:a16="http://schemas.microsoft.com/office/drawing/2014/main" id="{C959B150-735C-5042-A0B2-86D21DEF25EC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02A45777-933E-4648-8E40-6D5FF92C1013}"/>
              </a:ext>
            </a:extLst>
          </p:cNvPr>
          <p:cNvGrpSpPr/>
          <p:nvPr/>
        </p:nvGrpSpPr>
        <p:grpSpPr>
          <a:xfrm>
            <a:off x="5678628" y="5109143"/>
            <a:ext cx="738952" cy="523100"/>
            <a:chOff x="6009978" y="5761147"/>
            <a:chExt cx="1182419" cy="837028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ABA4328E-1445-D04E-BEC5-3DDB09209B9F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6" name="圆角矩形 45">
              <a:extLst>
                <a:ext uri="{FF2B5EF4-FFF2-40B4-BE49-F238E27FC236}">
                  <a16:creationId xmlns:a16="http://schemas.microsoft.com/office/drawing/2014/main" id="{C5A2CF84-1686-654F-AAA5-EBE65566ACAA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BB0C6B49-1ADE-0347-87AC-C8F45E327E0F}"/>
              </a:ext>
            </a:extLst>
          </p:cNvPr>
          <p:cNvGrpSpPr/>
          <p:nvPr/>
        </p:nvGrpSpPr>
        <p:grpSpPr>
          <a:xfrm>
            <a:off x="7077360" y="4406038"/>
            <a:ext cx="738952" cy="523100"/>
            <a:chOff x="6009978" y="5761147"/>
            <a:chExt cx="1182419" cy="837028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218254DB-F806-744E-BA6D-0370349627EE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9" name="圆角矩形 48">
              <a:extLst>
                <a:ext uri="{FF2B5EF4-FFF2-40B4-BE49-F238E27FC236}">
                  <a16:creationId xmlns:a16="http://schemas.microsoft.com/office/drawing/2014/main" id="{B66BA9DD-6AD0-9749-98BE-CBC326CF931D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50" name="矩形 49">
            <a:extLst>
              <a:ext uri="{FF2B5EF4-FFF2-40B4-BE49-F238E27FC236}">
                <a16:creationId xmlns:a16="http://schemas.microsoft.com/office/drawing/2014/main" id="{66BB1331-6500-2540-ACB0-1B64B0559A6A}"/>
              </a:ext>
            </a:extLst>
          </p:cNvPr>
          <p:cNvSpPr/>
          <p:nvPr/>
        </p:nvSpPr>
        <p:spPr>
          <a:xfrm>
            <a:off x="6870603" y="4209117"/>
            <a:ext cx="3072182" cy="1749771"/>
          </a:xfrm>
          <a:prstGeom prst="rect">
            <a:avLst/>
          </a:prstGeom>
          <a:noFill/>
          <a:ln>
            <a:solidFill>
              <a:srgbClr val="0154E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User Cluster B</a:t>
            </a:r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PC</a:t>
            </a:r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</a:t>
            </a:r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</a:p>
        </p:txBody>
      </p: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7E45D257-74EC-F948-A64D-EBD91BA495E0}"/>
              </a:ext>
            </a:extLst>
          </p:cNvPr>
          <p:cNvGrpSpPr/>
          <p:nvPr/>
        </p:nvGrpSpPr>
        <p:grpSpPr>
          <a:xfrm>
            <a:off x="8038006" y="4408629"/>
            <a:ext cx="738952" cy="523100"/>
            <a:chOff x="6009978" y="5761147"/>
            <a:chExt cx="1182419" cy="837028"/>
          </a:xfrm>
        </p:grpSpPr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BFFFE3DF-5090-824B-BC3C-C07F28FECFD7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53" name="圆角矩形 52">
              <a:extLst>
                <a:ext uri="{FF2B5EF4-FFF2-40B4-BE49-F238E27FC236}">
                  <a16:creationId xmlns:a16="http://schemas.microsoft.com/office/drawing/2014/main" id="{4B132785-A783-9048-B447-4755DEEBDB2D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913378DA-C2E4-CE43-B308-BC765AE728C2}"/>
              </a:ext>
            </a:extLst>
          </p:cNvPr>
          <p:cNvGrpSpPr/>
          <p:nvPr/>
        </p:nvGrpSpPr>
        <p:grpSpPr>
          <a:xfrm>
            <a:off x="8982054" y="4406038"/>
            <a:ext cx="738952" cy="523100"/>
            <a:chOff x="6009978" y="5761147"/>
            <a:chExt cx="1182419" cy="837028"/>
          </a:xfrm>
        </p:grpSpPr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26046E52-BE00-EE4A-AA3E-F68600D5542A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56" name="圆角矩形 55">
              <a:extLst>
                <a:ext uri="{FF2B5EF4-FFF2-40B4-BE49-F238E27FC236}">
                  <a16:creationId xmlns:a16="http://schemas.microsoft.com/office/drawing/2014/main" id="{E79B9426-B36A-2840-B980-4EECD051A147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423799F4-0D41-C74B-805B-2E5F8315F5D9}"/>
              </a:ext>
            </a:extLst>
          </p:cNvPr>
          <p:cNvGrpSpPr/>
          <p:nvPr/>
        </p:nvGrpSpPr>
        <p:grpSpPr>
          <a:xfrm>
            <a:off x="7074846" y="5109143"/>
            <a:ext cx="738952" cy="523100"/>
            <a:chOff x="6009978" y="5761147"/>
            <a:chExt cx="1182419" cy="837028"/>
          </a:xfrm>
        </p:grpSpPr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7E810967-0576-AE49-8DC6-6F081ACB4B32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59" name="圆角矩形 58">
              <a:extLst>
                <a:ext uri="{FF2B5EF4-FFF2-40B4-BE49-F238E27FC236}">
                  <a16:creationId xmlns:a16="http://schemas.microsoft.com/office/drawing/2014/main" id="{DA5E6AC1-8559-104C-A741-CFE93B4351FB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AA059348-5F02-ED4C-91DB-5D529D5A1474}"/>
              </a:ext>
            </a:extLst>
          </p:cNvPr>
          <p:cNvGrpSpPr/>
          <p:nvPr/>
        </p:nvGrpSpPr>
        <p:grpSpPr>
          <a:xfrm>
            <a:off x="8035492" y="5111734"/>
            <a:ext cx="738952" cy="523100"/>
            <a:chOff x="6009978" y="5761147"/>
            <a:chExt cx="1182419" cy="837028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962E8CBB-BD63-D44F-8216-5460F5A7C2FE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2" name="圆角矩形 61">
              <a:extLst>
                <a:ext uri="{FF2B5EF4-FFF2-40B4-BE49-F238E27FC236}">
                  <a16:creationId xmlns:a16="http://schemas.microsoft.com/office/drawing/2014/main" id="{EDCFBC8C-8384-324D-BDE9-F15F892A6770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63" name="组合 62">
            <a:extLst>
              <a:ext uri="{FF2B5EF4-FFF2-40B4-BE49-F238E27FC236}">
                <a16:creationId xmlns:a16="http://schemas.microsoft.com/office/drawing/2014/main" id="{0B11A2CB-9CD1-7344-B2F6-5AF398694B6B}"/>
              </a:ext>
            </a:extLst>
          </p:cNvPr>
          <p:cNvGrpSpPr/>
          <p:nvPr/>
        </p:nvGrpSpPr>
        <p:grpSpPr>
          <a:xfrm>
            <a:off x="8979540" y="5109143"/>
            <a:ext cx="738952" cy="523100"/>
            <a:chOff x="6009978" y="5761147"/>
            <a:chExt cx="1182419" cy="837028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EFB4169F-1A26-B145-AB6A-6390C5D63619}"/>
                </a:ext>
              </a:extLst>
            </p:cNvPr>
            <p:cNvSpPr/>
            <p:nvPr/>
          </p:nvSpPr>
          <p:spPr>
            <a:xfrm>
              <a:off x="6009978" y="5761147"/>
              <a:ext cx="1182419" cy="837028"/>
            </a:xfrm>
            <a:prstGeom prst="rect">
              <a:avLst/>
            </a:prstGeom>
            <a:solidFill>
              <a:srgbClr val="0154EC"/>
            </a:solidFill>
            <a:ln w="19050">
              <a:solidFill>
                <a:srgbClr val="0154E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 err="1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vm</a:t>
              </a:r>
              <a:endPara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5" name="圆角矩形 64">
              <a:extLst>
                <a:ext uri="{FF2B5EF4-FFF2-40B4-BE49-F238E27FC236}">
                  <a16:creationId xmlns:a16="http://schemas.microsoft.com/office/drawing/2014/main" id="{827027E5-CD72-B741-97AF-294AA1386139}"/>
                </a:ext>
              </a:extLst>
            </p:cNvPr>
            <p:cNvSpPr/>
            <p:nvPr/>
          </p:nvSpPr>
          <p:spPr>
            <a:xfrm>
              <a:off x="6147720" y="5884118"/>
              <a:ext cx="892278" cy="426025"/>
            </a:xfrm>
            <a:prstGeom prst="roundRect">
              <a:avLst/>
            </a:prstGeom>
            <a:solidFill>
              <a:schemeClr val="bg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od</a:t>
              </a:r>
              <a:endPara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pic>
        <p:nvPicPr>
          <p:cNvPr id="66" name="图片 65">
            <a:extLst>
              <a:ext uri="{FF2B5EF4-FFF2-40B4-BE49-F238E27FC236}">
                <a16:creationId xmlns:a16="http://schemas.microsoft.com/office/drawing/2014/main" id="{F2E756E9-4216-6645-BEAE-C87F26CD51F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1577" y="5725473"/>
            <a:ext cx="254101" cy="234537"/>
          </a:xfrm>
          <a:prstGeom prst="rect">
            <a:avLst/>
          </a:prstGeom>
          <a:ln>
            <a:noFill/>
          </a:ln>
        </p:spPr>
      </p:pic>
      <p:pic>
        <p:nvPicPr>
          <p:cNvPr id="67" name="图片 66">
            <a:extLst>
              <a:ext uri="{FF2B5EF4-FFF2-40B4-BE49-F238E27FC236}">
                <a16:creationId xmlns:a16="http://schemas.microsoft.com/office/drawing/2014/main" id="{A4B5CEDD-8399-9A49-8FFC-C83390BC36A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3327" y="5724351"/>
            <a:ext cx="254101" cy="234537"/>
          </a:xfrm>
          <a:prstGeom prst="rect">
            <a:avLst/>
          </a:prstGeom>
          <a:ln>
            <a:noFill/>
          </a:ln>
        </p:spPr>
      </p:pic>
      <p:cxnSp>
        <p:nvCxnSpPr>
          <p:cNvPr id="68" name="直接箭头连接符 27">
            <a:extLst>
              <a:ext uri="{FF2B5EF4-FFF2-40B4-BE49-F238E27FC236}">
                <a16:creationId xmlns:a16="http://schemas.microsoft.com/office/drawing/2014/main" id="{1154C554-A21B-DE40-800B-56ABA65633EE}"/>
              </a:ext>
            </a:extLst>
          </p:cNvPr>
          <p:cNvCxnSpPr>
            <a:cxnSpLocks/>
          </p:cNvCxnSpPr>
          <p:nvPr/>
        </p:nvCxnSpPr>
        <p:spPr>
          <a:xfrm>
            <a:off x="5030278" y="3562883"/>
            <a:ext cx="0" cy="646234"/>
          </a:xfrm>
          <a:prstGeom prst="straightConnector1">
            <a:avLst/>
          </a:prstGeom>
          <a:ln w="12700">
            <a:solidFill>
              <a:srgbClr val="0154EC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矩形 68">
            <a:extLst>
              <a:ext uri="{FF2B5EF4-FFF2-40B4-BE49-F238E27FC236}">
                <a16:creationId xmlns:a16="http://schemas.microsoft.com/office/drawing/2014/main" id="{ECDE2964-4DED-6342-A6D8-BAFDB4A921B0}"/>
              </a:ext>
            </a:extLst>
          </p:cNvPr>
          <p:cNvSpPr/>
          <p:nvPr/>
        </p:nvSpPr>
        <p:spPr>
          <a:xfrm>
            <a:off x="6808808" y="2701525"/>
            <a:ext cx="3281200" cy="861357"/>
          </a:xfrm>
          <a:prstGeom prst="rect">
            <a:avLst/>
          </a:prstGeom>
          <a:solidFill>
            <a:srgbClr val="0154EC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luster</a:t>
            </a:r>
            <a:r>
              <a:rPr lang="zh-CN" altLang="en-US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aster B</a:t>
            </a:r>
            <a:endParaRPr lang="zh-CN" altLang="en-US" sz="10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0" name="矩形: 圆角 24">
            <a:extLst>
              <a:ext uri="{FF2B5EF4-FFF2-40B4-BE49-F238E27FC236}">
                <a16:creationId xmlns:a16="http://schemas.microsoft.com/office/drawing/2014/main" id="{931619AD-0ABE-BC48-9758-0175052CBCAC}"/>
              </a:ext>
            </a:extLst>
          </p:cNvPr>
          <p:cNvSpPr/>
          <p:nvPr/>
        </p:nvSpPr>
        <p:spPr>
          <a:xfrm>
            <a:off x="7942359" y="2768749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piserver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1" name="矩形: 圆角 24">
            <a:extLst>
              <a:ext uri="{FF2B5EF4-FFF2-40B4-BE49-F238E27FC236}">
                <a16:creationId xmlns:a16="http://schemas.microsoft.com/office/drawing/2014/main" id="{DD48EB26-0BF4-FB4C-95DB-7E28801E289E}"/>
              </a:ext>
            </a:extLst>
          </p:cNvPr>
          <p:cNvSpPr/>
          <p:nvPr/>
        </p:nvSpPr>
        <p:spPr>
          <a:xfrm>
            <a:off x="6852941" y="2768749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组件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2" name="矩形: 圆角 24">
            <a:extLst>
              <a:ext uri="{FF2B5EF4-FFF2-40B4-BE49-F238E27FC236}">
                <a16:creationId xmlns:a16="http://schemas.microsoft.com/office/drawing/2014/main" id="{A1B1A6ED-F99C-544D-BFF4-F9D57CF43669}"/>
              </a:ext>
            </a:extLst>
          </p:cNvPr>
          <p:cNvSpPr/>
          <p:nvPr/>
        </p:nvSpPr>
        <p:spPr>
          <a:xfrm>
            <a:off x="9022391" y="2768749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tcd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3" name="矩形: 圆角 24">
            <a:extLst>
              <a:ext uri="{FF2B5EF4-FFF2-40B4-BE49-F238E27FC236}">
                <a16:creationId xmlns:a16="http://schemas.microsoft.com/office/drawing/2014/main" id="{DC5D8B66-8D8B-774C-BA94-801ECDE5CC56}"/>
              </a:ext>
            </a:extLst>
          </p:cNvPr>
          <p:cNvSpPr/>
          <p:nvPr/>
        </p:nvSpPr>
        <p:spPr>
          <a:xfrm>
            <a:off x="8037601" y="2863991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piserver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4" name="矩形: 圆角 24">
            <a:extLst>
              <a:ext uri="{FF2B5EF4-FFF2-40B4-BE49-F238E27FC236}">
                <a16:creationId xmlns:a16="http://schemas.microsoft.com/office/drawing/2014/main" id="{EF9AFCA4-E40B-474E-BF3D-52982CB79596}"/>
              </a:ext>
            </a:extLst>
          </p:cNvPr>
          <p:cNvSpPr/>
          <p:nvPr/>
        </p:nvSpPr>
        <p:spPr>
          <a:xfrm>
            <a:off x="6948183" y="2863991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组件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5" name="矩形: 圆角 24">
            <a:extLst>
              <a:ext uri="{FF2B5EF4-FFF2-40B4-BE49-F238E27FC236}">
                <a16:creationId xmlns:a16="http://schemas.microsoft.com/office/drawing/2014/main" id="{4729EA7B-0F04-A941-B9E9-C8B23788DEF4}"/>
              </a:ext>
            </a:extLst>
          </p:cNvPr>
          <p:cNvSpPr/>
          <p:nvPr/>
        </p:nvSpPr>
        <p:spPr>
          <a:xfrm>
            <a:off x="9117633" y="2863991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tcd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6" name="矩形: 圆角 24">
            <a:extLst>
              <a:ext uri="{FF2B5EF4-FFF2-40B4-BE49-F238E27FC236}">
                <a16:creationId xmlns:a16="http://schemas.microsoft.com/office/drawing/2014/main" id="{D87ACC27-9EF4-684D-944D-30EAD0B71248}"/>
              </a:ext>
            </a:extLst>
          </p:cNvPr>
          <p:cNvSpPr/>
          <p:nvPr/>
        </p:nvSpPr>
        <p:spPr>
          <a:xfrm>
            <a:off x="8132844" y="2959233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piserver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7" name="矩形: 圆角 24">
            <a:extLst>
              <a:ext uri="{FF2B5EF4-FFF2-40B4-BE49-F238E27FC236}">
                <a16:creationId xmlns:a16="http://schemas.microsoft.com/office/drawing/2014/main" id="{73377A63-C3A0-7949-8FC0-B736B0189CCF}"/>
              </a:ext>
            </a:extLst>
          </p:cNvPr>
          <p:cNvSpPr/>
          <p:nvPr/>
        </p:nvSpPr>
        <p:spPr>
          <a:xfrm>
            <a:off x="7043425" y="2959233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组件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8" name="矩形: 圆角 24">
            <a:extLst>
              <a:ext uri="{FF2B5EF4-FFF2-40B4-BE49-F238E27FC236}">
                <a16:creationId xmlns:a16="http://schemas.microsoft.com/office/drawing/2014/main" id="{BD1B0371-FF67-5F46-AE4F-4140B49EEACB}"/>
              </a:ext>
            </a:extLst>
          </p:cNvPr>
          <p:cNvSpPr/>
          <p:nvPr/>
        </p:nvSpPr>
        <p:spPr>
          <a:xfrm>
            <a:off x="9212876" y="2959233"/>
            <a:ext cx="855000" cy="334763"/>
          </a:xfrm>
          <a:prstGeom prst="roundRect">
            <a:avLst/>
          </a:prstGeom>
          <a:solidFill>
            <a:schemeClr val="bg1"/>
          </a:solidFill>
          <a:ln w="9525">
            <a:solidFill>
              <a:srgbClr val="0154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tcd</a:t>
            </a:r>
            <a:endParaRPr lang="en-US" sz="10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79" name="直接箭头连接符 27">
            <a:extLst>
              <a:ext uri="{FF2B5EF4-FFF2-40B4-BE49-F238E27FC236}">
                <a16:creationId xmlns:a16="http://schemas.microsoft.com/office/drawing/2014/main" id="{E9FBCB30-5DD1-1544-BA0B-2AF4BB710AB8}"/>
              </a:ext>
            </a:extLst>
          </p:cNvPr>
          <p:cNvCxnSpPr>
            <a:cxnSpLocks/>
          </p:cNvCxnSpPr>
          <p:nvPr/>
        </p:nvCxnSpPr>
        <p:spPr>
          <a:xfrm>
            <a:off x="8391068" y="3565426"/>
            <a:ext cx="0" cy="646234"/>
          </a:xfrm>
          <a:prstGeom prst="straightConnector1">
            <a:avLst/>
          </a:prstGeom>
          <a:ln w="12700">
            <a:solidFill>
              <a:srgbClr val="0154EC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3654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4B52AE24-AC78-4FDE-ABAA-297686F0694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912" y="1255331"/>
            <a:ext cx="7359253" cy="5613662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007EB2ED-4CEC-49E1-96CC-39B3D416934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480" y="1256899"/>
            <a:ext cx="7359253" cy="5613662"/>
          </a:xfrm>
          <a:prstGeom prst="rect">
            <a:avLst/>
          </a:prstGeom>
        </p:spPr>
      </p:pic>
      <p:sp>
        <p:nvSpPr>
          <p:cNvPr id="9" name="TextBox 2">
            <a:extLst>
              <a:ext uri="{FF2B5EF4-FFF2-40B4-BE49-F238E27FC236}">
                <a16:creationId xmlns:a16="http://schemas.microsoft.com/office/drawing/2014/main" id="{47E7573E-3FDD-764C-8134-D19F448896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4051" y="1961927"/>
            <a:ext cx="12717302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r>
              <a:rPr lang="zh-CN" altLang="en-US" sz="4800" dirty="0">
                <a:solidFill>
                  <a:schemeClr val="bg1"/>
                </a:solidFill>
                <a:latin typeface="TTTGB Medium" charset="-122"/>
                <a:ea typeface="TTTGB Medium" charset="-122"/>
              </a:rPr>
              <a:t>优势和适用场景</a:t>
            </a:r>
            <a:endParaRPr lang="en-US" altLang="zh-CN" sz="4800" dirty="0">
              <a:solidFill>
                <a:schemeClr val="bg1"/>
              </a:solidFill>
              <a:latin typeface="TTTGB Medium" charset="-122"/>
              <a:ea typeface="TTTGB Medium" charset="-122"/>
            </a:endParaRP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7B5F0EA6-F6E6-F940-B6CB-B1F0C32DB989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1194051" y="2854838"/>
            <a:ext cx="15102364" cy="435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lnSpc>
                <a:spcPct val="125000"/>
              </a:lnSpc>
            </a:pPr>
            <a:r>
              <a:rPr lang="zh-CN" altLang="en-US" sz="2400" dirty="0">
                <a:solidFill>
                  <a:schemeClr val="bg1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容器化趋势下的基础设施发展方向</a:t>
            </a:r>
            <a:endParaRPr lang="en-US" altLang="zh-CN" sz="2400" dirty="0">
              <a:solidFill>
                <a:schemeClr val="bg1"/>
              </a:solidFill>
              <a:latin typeface="TTTGB Medium" charset="-122"/>
              <a:ea typeface="TTTGB Medium" charset="-122"/>
              <a:cs typeface="TTTGB Medium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5237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保留原生 </a:t>
            </a:r>
            <a:r>
              <a:rPr lang="en-US" altLang="zh-CN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K8S</a:t>
            </a:r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 特性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6EA4510-7082-6048-BEA4-A5AB00112054}"/>
              </a:ext>
            </a:extLst>
          </p:cNvPr>
          <p:cNvSpPr/>
          <p:nvPr/>
        </p:nvSpPr>
        <p:spPr>
          <a:xfrm>
            <a:off x="6486860" y="2256025"/>
            <a:ext cx="5286040" cy="983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动调度管理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只需指定每个容器所需 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PU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和内存</a:t>
            </a:r>
            <a:r>
              <a:rPr lang="zh-CN" altLang="e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KS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以自动做出更好的调度决策来管理容器，包括自动多主机、多机房分散。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B07A5C6-A87A-5C4B-92E6-457F9676C061}"/>
              </a:ext>
            </a:extLst>
          </p:cNvPr>
          <p:cNvSpPr/>
          <p:nvPr/>
        </p:nvSpPr>
        <p:spPr>
          <a:xfrm>
            <a:off x="848992" y="2256025"/>
            <a:ext cx="5286040" cy="983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服务发现和负载均衡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使用 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NS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名称或 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P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地址访问服务。支持自动为服务的多个容器副本分配网络流量，从而使服务整体更加稳定。</a:t>
            </a:r>
            <a:endParaRPr lang="zh-CN" altLang="en-US" sz="16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BB70A6F-0EEA-004C-B2AA-0DBE104733AB}"/>
              </a:ext>
            </a:extLst>
          </p:cNvPr>
          <p:cNvSpPr/>
          <p:nvPr/>
        </p:nvSpPr>
        <p:spPr>
          <a:xfrm>
            <a:off x="848992" y="3483421"/>
            <a:ext cx="5286040" cy="7060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存储编排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自动挂载存储系统，例如云盘、云文件系统等。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97A8EB47-56CE-4B40-8044-761ED14573E1}"/>
              </a:ext>
            </a:extLst>
          </p:cNvPr>
          <p:cNvSpPr/>
          <p:nvPr/>
        </p:nvSpPr>
        <p:spPr>
          <a:xfrm>
            <a:off x="848992" y="4459520"/>
            <a:ext cx="5286040" cy="12600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动部署和回滚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采用声明式管理，只需描述已部署容器服务的所需状态，它即可以受控的速率将实际状态更改为所需状态。例如，您可以自动化 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KS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来为您的服务创建新容器副本，删除现有容器并将其所有资源用于新容器。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C3D1480-78C0-594D-AB20-53ADF3B03E6F}"/>
              </a:ext>
            </a:extLst>
          </p:cNvPr>
          <p:cNvSpPr/>
          <p:nvPr/>
        </p:nvSpPr>
        <p:spPr>
          <a:xfrm>
            <a:off x="6486860" y="3483421"/>
            <a:ext cx="5286040" cy="983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我修复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动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重启失败的容器、自动替换容器、杀死健康检查失败的容器，并支持自动对客户端屏蔽不健康容器副本。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A9D73E0-E9E0-AB49-8604-0777CAB62E79}"/>
              </a:ext>
            </a:extLst>
          </p:cNvPr>
          <p:cNvSpPr/>
          <p:nvPr/>
        </p:nvSpPr>
        <p:spPr>
          <a:xfrm>
            <a:off x="6486860" y="4746860"/>
            <a:ext cx="5286040" cy="12600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密钥与配置管理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存储和管理敏感信息，例如密码、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Auth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令牌和 </a:t>
            </a:r>
            <a:r>
              <a:rPr lang="en" altLang="zh-CN" sz="1200" dirty="0" err="1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sh</a:t>
            </a:r>
            <a:r>
              <a:rPr lang="en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密钥。支持在不重建容器镜像的情况下更新密钥和应用程序配置，也无需在堆栈配置中暴露密钥。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D17A473-029A-8C4B-829B-5E6F574640CB}"/>
              </a:ext>
            </a:extLst>
          </p:cNvPr>
          <p:cNvSpPr/>
          <p:nvPr/>
        </p:nvSpPr>
        <p:spPr>
          <a:xfrm>
            <a:off x="848992" y="1389213"/>
            <a:ext cx="10923908" cy="418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通过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ubernetes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PI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和 </a:t>
            </a:r>
            <a:r>
              <a:rPr lang="en-US" altLang="zh-CN" sz="1600" b="1" dirty="0" err="1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ubectl</a:t>
            </a: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等主流方式管理集群资源。</a:t>
            </a:r>
            <a:endParaRPr lang="zh-CN" altLang="en-US" sz="1600" dirty="0">
              <a:solidFill>
                <a:srgbClr val="00A4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7962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无服务器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552DF0B-17DD-5649-9D5C-062182527846}"/>
              </a:ext>
            </a:extLst>
          </p:cNvPr>
          <p:cNvSpPr/>
          <p:nvPr/>
        </p:nvSpPr>
        <p:spPr>
          <a:xfrm>
            <a:off x="848992" y="1170175"/>
            <a:ext cx="2499998" cy="418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使用 </a:t>
            </a:r>
            <a:r>
              <a:rPr lang="en-US" altLang="zh-CN" sz="1600" b="1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Kubernetes</a:t>
            </a:r>
            <a:r>
              <a:rPr lang="zh-CN" altLang="en-US" sz="1600" b="1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endParaRPr lang="zh-CN" altLang="en-US" sz="16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9B0A4A8-3A58-D844-B488-B25A74C7598E}"/>
              </a:ext>
            </a:extLst>
          </p:cNvPr>
          <p:cNvSpPr/>
          <p:nvPr/>
        </p:nvSpPr>
        <p:spPr>
          <a:xfrm>
            <a:off x="848992" y="3816357"/>
            <a:ext cx="1288418" cy="418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使用 </a:t>
            </a:r>
            <a:r>
              <a:rPr lang="en-US" altLang="zh-CN" sz="1600" b="1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KS</a:t>
            </a:r>
            <a:r>
              <a:rPr lang="zh-CN" altLang="en-US" sz="1600" b="1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</a:t>
            </a:r>
            <a:endParaRPr lang="zh-CN" altLang="en-US" sz="16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E48A8441-BE4E-A64E-821C-0C280B01BAB0}"/>
              </a:ext>
            </a:extLst>
          </p:cNvPr>
          <p:cNvGrpSpPr/>
          <p:nvPr/>
        </p:nvGrpSpPr>
        <p:grpSpPr>
          <a:xfrm>
            <a:off x="1034192" y="1323618"/>
            <a:ext cx="10199293" cy="2637255"/>
            <a:chOff x="848992" y="985030"/>
            <a:chExt cx="10199293" cy="2637255"/>
          </a:xfrm>
        </p:grpSpPr>
        <p:sp>
          <p:nvSpPr>
            <p:cNvPr id="7" name="矩形 6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E0204EF0-267A-8F44-8184-8A9835D9FC77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848992" y="1864115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创建集群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需要基础 </a:t>
              </a:r>
              <a:r>
                <a:rPr lang="en-US" altLang="zh-CN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k8s</a:t>
              </a: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 知识</a:t>
              </a:r>
            </a:p>
          </p:txBody>
        </p:sp>
        <p:sp>
          <p:nvSpPr>
            <p:cNvPr id="8" name="右箭头 7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2D236BC2-171E-F24B-A3EA-5D7A9FE52B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11664" y="2156624"/>
              <a:ext cx="318978" cy="294066"/>
            </a:xfrm>
            <a:prstGeom prst="rightArrow">
              <a:avLst/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9" name="矩形 8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88760113-5F21-D242-8415-F7DA5B3E6B82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5295322" y="1864115"/>
              <a:ext cx="1621157" cy="879085"/>
            </a:xfrm>
            <a:prstGeom prst="rect">
              <a:avLst/>
            </a:prstGeom>
            <a:solidFill>
              <a:srgbClr val="AC30A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添加</a:t>
              </a:r>
              <a:r>
                <a:rPr lang="en-US" altLang="zh-CN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/</a:t>
              </a: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移出节点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需要选择、购买服务器</a:t>
              </a:r>
            </a:p>
          </p:txBody>
        </p:sp>
        <p:sp>
          <p:nvSpPr>
            <p:cNvPr id="11" name="矩形 10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A1AEB9D3-4763-E042-83E7-C1026B69994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3072157" y="1864115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连接集群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en-US" altLang="zh-CN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5</a:t>
              </a: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分钟掌握</a:t>
              </a:r>
            </a:p>
          </p:txBody>
        </p:sp>
        <p:sp>
          <p:nvSpPr>
            <p:cNvPr id="12" name="右箭头 11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8F14E84D-AA9B-F746-A747-A122E8B042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34829" y="2156624"/>
              <a:ext cx="318978" cy="294066"/>
            </a:xfrm>
            <a:prstGeom prst="rightArrow">
              <a:avLst/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13" name="矩形 12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E1ED8E20-DB26-8846-BB00-916B4BF41D74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361225" y="985030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部署应用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需要熟悉容器镜像，</a:t>
              </a:r>
              <a:endParaRPr lang="en-US" altLang="zh-CN" sz="12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/>
              <a:r>
                <a:rPr lang="en-US" altLang="zh-CN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k8s</a:t>
              </a: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 处理大部分工作</a:t>
              </a:r>
            </a:p>
          </p:txBody>
        </p:sp>
        <p:sp>
          <p:nvSpPr>
            <p:cNvPr id="14" name="矩形 13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251B21D0-9EE9-AE4F-86E3-EC6806E38714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9427128" y="1864115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管理应用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en-US" altLang="zh-CN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k8s</a:t>
              </a: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 自动处理大部分</a:t>
              </a:r>
              <a:endParaRPr lang="en-US" altLang="zh-CN" sz="12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/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工作</a:t>
              </a:r>
            </a:p>
          </p:txBody>
        </p:sp>
        <p:sp>
          <p:nvSpPr>
            <p:cNvPr id="15" name="矩形 14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25BE3DEB-219B-C446-BEBD-4E9FA9107EEC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361225" y="2743200"/>
              <a:ext cx="1621157" cy="879085"/>
            </a:xfrm>
            <a:prstGeom prst="rect">
              <a:avLst/>
            </a:prstGeom>
            <a:solidFill>
              <a:srgbClr val="AC30A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管理节点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需要专业的运维知识</a:t>
              </a:r>
              <a:endParaRPr lang="en-US" altLang="zh-CN" sz="12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/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和 </a:t>
              </a:r>
              <a:r>
                <a:rPr lang="en-US" altLang="zh-CN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k8s</a:t>
              </a: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 知识</a:t>
              </a:r>
            </a:p>
          </p:txBody>
        </p:sp>
        <p:sp>
          <p:nvSpPr>
            <p:cNvPr id="16" name="圆角右箭头 15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4768530B-53A8-8E43-A3CE-A1818B87A9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16479" y="1366578"/>
              <a:ext cx="363997" cy="363997"/>
            </a:xfrm>
            <a:prstGeom prst="bentArrow">
              <a:avLst>
                <a:gd name="adj1" fmla="val 44909"/>
                <a:gd name="adj2" fmla="val 43471"/>
                <a:gd name="adj3" fmla="val 37742"/>
                <a:gd name="adj4" fmla="val 36503"/>
              </a:avLst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18" name="圆角右箭头 17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1DCB158F-DB35-2046-BCA1-AC508E926C0C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063131" y="1406304"/>
              <a:ext cx="363997" cy="363997"/>
            </a:xfrm>
            <a:prstGeom prst="bentArrow">
              <a:avLst>
                <a:gd name="adj1" fmla="val 44909"/>
                <a:gd name="adj2" fmla="val 43471"/>
                <a:gd name="adj3" fmla="val 37742"/>
                <a:gd name="adj4" fmla="val 36503"/>
              </a:avLst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19" name="圆角右箭头 18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6E29FA52-5D1F-CC4C-8390-4A8DADA94AC5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9063131" y="2842961"/>
              <a:ext cx="363997" cy="363997"/>
            </a:xfrm>
            <a:prstGeom prst="bentArrow">
              <a:avLst>
                <a:gd name="adj1" fmla="val 44909"/>
                <a:gd name="adj2" fmla="val 43471"/>
                <a:gd name="adj3" fmla="val 37742"/>
                <a:gd name="adj4" fmla="val 36503"/>
              </a:avLst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20" name="圆角右箭头 19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3C76DF4E-BC0E-ED4E-AFEB-17185AD8E971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6910240" y="2842961"/>
              <a:ext cx="363997" cy="363997"/>
            </a:xfrm>
            <a:prstGeom prst="bentArrow">
              <a:avLst>
                <a:gd name="adj1" fmla="val 44909"/>
                <a:gd name="adj2" fmla="val 43471"/>
                <a:gd name="adj3" fmla="val 37742"/>
                <a:gd name="adj4" fmla="val 36503"/>
              </a:avLst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921C9478-1560-A746-8E74-23DDBD565F2E}"/>
              </a:ext>
            </a:extLst>
          </p:cNvPr>
          <p:cNvGrpSpPr/>
          <p:nvPr/>
        </p:nvGrpSpPr>
        <p:grpSpPr>
          <a:xfrm>
            <a:off x="1034192" y="4848634"/>
            <a:ext cx="8290652" cy="879085"/>
            <a:chOff x="848992" y="5124831"/>
            <a:chExt cx="8290652" cy="879085"/>
          </a:xfrm>
        </p:grpSpPr>
        <p:sp>
          <p:nvSpPr>
            <p:cNvPr id="22" name="矩形 21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4894996C-899B-4E4E-AF17-57F7FD86AC8C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848992" y="5124831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创建集群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需要基础 </a:t>
              </a:r>
              <a:r>
                <a:rPr lang="en-US" altLang="zh-CN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k8s</a:t>
              </a: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 知识</a:t>
              </a:r>
            </a:p>
          </p:txBody>
        </p:sp>
        <p:sp>
          <p:nvSpPr>
            <p:cNvPr id="23" name="右箭头 22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3AF2A904-EB93-674E-9AF4-064B9ACDB7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11664" y="5417340"/>
              <a:ext cx="318978" cy="294066"/>
            </a:xfrm>
            <a:prstGeom prst="rightArrow">
              <a:avLst/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25" name="矩形 24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C1DBF3C0-CD37-F342-8E1F-CBD869904CB3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3072157" y="5124831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连接集群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en-US" altLang="zh-CN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5</a:t>
              </a: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分钟掌握</a:t>
              </a:r>
            </a:p>
          </p:txBody>
        </p:sp>
        <p:sp>
          <p:nvSpPr>
            <p:cNvPr id="26" name="右箭头 25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9502379F-5BD7-2A46-83D5-5A7FBDE0D7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34829" y="5417340"/>
              <a:ext cx="318978" cy="294066"/>
            </a:xfrm>
            <a:prstGeom prst="rightArrow">
              <a:avLst/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  <p:sp>
          <p:nvSpPr>
            <p:cNvPr id="27" name="矩形 26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0C651506-CC02-AD48-9D14-7A6F0291317C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5295322" y="5124831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部署应用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需要熟悉容器镜像，</a:t>
              </a:r>
              <a:endParaRPr lang="en-US" altLang="zh-CN" sz="12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/>
              <a:r>
                <a:rPr lang="en-US" altLang="zh-CN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k8s</a:t>
              </a: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 处理大部分工作</a:t>
              </a:r>
            </a:p>
          </p:txBody>
        </p:sp>
        <p:sp>
          <p:nvSpPr>
            <p:cNvPr id="28" name="矩形 27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B5B266E8-69EF-8B45-A1BD-3C6E4897F8B2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518487" y="5124831"/>
              <a:ext cx="1621157" cy="879085"/>
            </a:xfrm>
            <a:prstGeom prst="rect">
              <a:avLst/>
            </a:prstGeom>
            <a:solidFill>
              <a:srgbClr val="0154EC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>
                <a:lnSpc>
                  <a:spcPct val="150000"/>
                </a:lnSpc>
              </a:pPr>
              <a:r>
                <a:rPr lang="zh-CN" altLang="en-US" sz="1200" b="1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管理应用</a:t>
              </a:r>
              <a:endParaRPr lang="en-US" altLang="zh-CN" sz="1200" b="1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>
                <a:lnSpc>
                  <a:spcPct val="150000"/>
                </a:lnSpc>
              </a:pPr>
              <a:r>
                <a:rPr lang="en-US" altLang="zh-CN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k8s</a:t>
              </a:r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 自动处理大部分</a:t>
              </a:r>
              <a:endParaRPr lang="en-US" altLang="zh-CN" sz="12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  <a:p>
              <a:pPr algn="ctr" defTabSz="2065010"/>
              <a:r>
                <a:rPr lang="zh-CN" altLang="en-US" sz="1200" dirty="0">
                  <a:solidFill>
                    <a:prstClr val="white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思源黑体 CN ExtraLight"/>
                  <a:sym typeface="+mn-lt"/>
                </a:rPr>
                <a:t>工作</a:t>
              </a:r>
            </a:p>
          </p:txBody>
        </p:sp>
        <p:sp>
          <p:nvSpPr>
            <p:cNvPr id="34" name="右箭头 33" descr="e7d195523061f1c0c989bbdf341b111e769f2ee359bd8df638E53E9931A62DC22263A6E1A75FFBC630BB5D77BA969D9175F253EB94D93A1189E24A7D909BAD0376573965191318DE1FD009565C070D0758BE63ED47B2EDEA90557AF5557698B3C970B7156711F56A817E054E0F6C1C4A122430A250CE9C515ABA2065CACC41450FAD86564000734B172F27CA8E080E88">
              <a:extLst>
                <a:ext uri="{FF2B5EF4-FFF2-40B4-BE49-F238E27FC236}">
                  <a16:creationId xmlns:a16="http://schemas.microsoft.com/office/drawing/2014/main" id="{E5665E08-0AB3-DA49-AFB2-D1F18BDDD2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57994" y="5417340"/>
              <a:ext cx="318978" cy="294066"/>
            </a:xfrm>
            <a:prstGeom prst="rightArrow">
              <a:avLst/>
            </a:prstGeom>
            <a:solidFill>
              <a:srgbClr val="01B7FF">
                <a:alpha val="74902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none" lIns="206514" tIns="103257" rIns="206514" bIns="103257" rtlCol="0" anchor="ctr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 defTabSz="2065010"/>
              <a:endParaRPr lang="zh-CN" altLang="en-US" sz="16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思源黑体 CN ExtraLight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0019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容器安全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E0AFD98D-B69C-5A4F-99BC-D1043193A5FE}"/>
              </a:ext>
            </a:extLst>
          </p:cNvPr>
          <p:cNvSpPr/>
          <p:nvPr/>
        </p:nvSpPr>
        <p:spPr>
          <a:xfrm>
            <a:off x="3726180" y="1474047"/>
            <a:ext cx="4680000" cy="1332000"/>
          </a:xfrm>
          <a:prstGeom prst="rect">
            <a:avLst/>
          </a:prstGeom>
          <a:solidFill>
            <a:srgbClr val="006E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镜像安全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lvl="0" indent="-17145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网络安全策略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lvl="0" indent="-17145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操作审计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A899BE5-5AA3-144F-93B6-240B5A5005BF}"/>
              </a:ext>
            </a:extLst>
          </p:cNvPr>
          <p:cNvSpPr/>
          <p:nvPr/>
        </p:nvSpPr>
        <p:spPr>
          <a:xfrm>
            <a:off x="3726180" y="4731147"/>
            <a:ext cx="4680000" cy="1332000"/>
          </a:xfrm>
          <a:prstGeom prst="rect">
            <a:avLst/>
          </a:prstGeom>
          <a:solidFill>
            <a:srgbClr val="81279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容器虚拟化隔离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lvl="0" indent="-17145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网络隔离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lvl="0" indent="-17145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租户隔离</a:t>
            </a:r>
            <a:endParaRPr kumimoji="1" lang="zh-CN" altLang="en-US" sz="1200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B24F2B7-6FF2-6B42-9646-81FEC98B3ED8}"/>
              </a:ext>
            </a:extLst>
          </p:cNvPr>
          <p:cNvSpPr/>
          <p:nvPr/>
        </p:nvSpPr>
        <p:spPr>
          <a:xfrm>
            <a:off x="3726180" y="3102597"/>
            <a:ext cx="4680000" cy="1332000"/>
          </a:xfrm>
          <a:prstGeom prst="rect">
            <a:avLst/>
          </a:prstGeom>
          <a:solidFill>
            <a:srgbClr val="038CCD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平台独立隔离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lvl="0" indent="-17145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集群隔离，互不影响</a:t>
            </a:r>
            <a:endParaRPr lang="en-US" altLang="zh-CN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71450" lvl="0" indent="-17145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kumimoji="1"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角色认证，访问控制</a:t>
            </a:r>
            <a:endParaRPr kumimoji="1" lang="zh-CN" altLang="en-US" sz="12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380D4E2-120F-4549-8A4A-DDEAE7196A71}"/>
              </a:ext>
            </a:extLst>
          </p:cNvPr>
          <p:cNvSpPr txBox="1"/>
          <p:nvPr/>
        </p:nvSpPr>
        <p:spPr>
          <a:xfrm>
            <a:off x="2175510" y="195538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应用环境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2958E778-09B0-7D48-84B2-8EB6CA9385B9}"/>
              </a:ext>
            </a:extLst>
          </p:cNvPr>
          <p:cNvSpPr txBox="1"/>
          <p:nvPr/>
        </p:nvSpPr>
        <p:spPr>
          <a:xfrm>
            <a:off x="2175510" y="358393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托管平台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74D028B5-02A8-294B-8F2E-610F79C08C4E}"/>
              </a:ext>
            </a:extLst>
          </p:cNvPr>
          <p:cNvSpPr txBox="1"/>
          <p:nvPr/>
        </p:nvSpPr>
        <p:spPr>
          <a:xfrm>
            <a:off x="2175510" y="521248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础设施</a:t>
            </a:r>
          </a:p>
        </p:txBody>
      </p:sp>
    </p:spTree>
    <p:extLst>
      <p:ext uri="{BB962C8B-B14F-4D97-AF65-F5344CB8AC3E}">
        <p14:creationId xmlns:p14="http://schemas.microsoft.com/office/powerpoint/2010/main" val="30833766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F259F170-8889-434A-A53D-15C7FEC05543}"/>
              </a:ext>
            </a:extLst>
          </p:cNvPr>
          <p:cNvSpPr txBox="1">
            <a:spLocks/>
          </p:cNvSpPr>
          <p:nvPr/>
        </p:nvSpPr>
        <p:spPr>
          <a:xfrm>
            <a:off x="848992" y="427507"/>
            <a:ext cx="6617038" cy="5130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FFFFFF"/>
                </a:solidFill>
                <a:latin typeface="TTTGB Medium" panose="020C06030202040F0204" pitchFamily="34" charset="-122"/>
                <a:ea typeface="TTTGB Medium" panose="020C06030202040F0204" pitchFamily="34" charset="-122"/>
                <a:cs typeface="+mn-ea"/>
                <a:sym typeface="+mn-lt"/>
              </a:rPr>
              <a:t>秒级弹性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ACE60E0-AA51-CF4A-B249-41A2FB4FAE6C}"/>
              </a:ext>
            </a:extLst>
          </p:cNvPr>
          <p:cNvSpPr/>
          <p:nvPr/>
        </p:nvSpPr>
        <p:spPr>
          <a:xfrm>
            <a:off x="848991" y="1170175"/>
            <a:ext cx="8005641" cy="25526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动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使用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PA/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定时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PA/VPA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方式管理工作负载自动伸缩策略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高效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秒级扩容上千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0MB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镜像的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s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内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ady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A4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根据实时指标</a:t>
            </a:r>
            <a:br>
              <a:rPr lang="zh-CN" altLang="en-US" sz="16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持根据 </a:t>
            </a:r>
            <a:r>
              <a:rPr lang="en-US" altLang="zh-CN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d</a:t>
            </a:r>
            <a:r>
              <a:rPr lang="zh-CN" altLang="en-US" sz="1200" dirty="0">
                <a:solidFill>
                  <a:schemeClr val="bg1">
                    <a:lumMod val="9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实时监控指标动态伸缩。</a:t>
            </a:r>
            <a:endParaRPr lang="en-US" altLang="zh-CN" sz="1200" dirty="0">
              <a:solidFill>
                <a:schemeClr val="bg1">
                  <a:lumMod val="9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15193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071C"/>
      </a:accent1>
      <a:accent2>
        <a:srgbClr val="1A49B3"/>
      </a:accent2>
      <a:accent3>
        <a:srgbClr val="46CDFE"/>
      </a:accent3>
      <a:accent4>
        <a:srgbClr val="1C3DA1"/>
      </a:accent4>
      <a:accent5>
        <a:srgbClr val="0A2668"/>
      </a:accent5>
      <a:accent6>
        <a:srgbClr val="0C2464"/>
      </a:accent6>
      <a:hlink>
        <a:srgbClr val="4276AA"/>
      </a:hlink>
      <a:folHlink>
        <a:srgbClr val="BFBFBF"/>
      </a:folHlink>
    </a:clrScheme>
    <a:fontScheme name="pt0041n2">
      <a:majorFont>
        <a:latin typeface="+mn-lt"/>
        <a:ea typeface="+mn-ea"/>
        <a:cs typeface=""/>
      </a:majorFont>
      <a:minorFont>
        <a:latin typeface="+mn-lt"/>
        <a:ea typeface="+mn-e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071C"/>
    </a:accent1>
    <a:accent2>
      <a:srgbClr val="1A49B3"/>
    </a:accent2>
    <a:accent3>
      <a:srgbClr val="46CDFE"/>
    </a:accent3>
    <a:accent4>
      <a:srgbClr val="1C3DA1"/>
    </a:accent4>
    <a:accent5>
      <a:srgbClr val="0A2668"/>
    </a:accent5>
    <a:accent6>
      <a:srgbClr val="0C246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8728</TotalTime>
  <Words>1269</Words>
  <Application>Microsoft Macintosh PowerPoint</Application>
  <PresentationFormat>宽屏</PresentationFormat>
  <Paragraphs>339</Paragraphs>
  <Slides>21</Slides>
  <Notes>17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1" baseType="lpstr">
      <vt:lpstr>思源黑体 CN ExtraLight</vt:lpstr>
      <vt:lpstr>宋体</vt:lpstr>
      <vt:lpstr>Microsoft YaHei</vt:lpstr>
      <vt:lpstr>Microsoft YaHei</vt:lpstr>
      <vt:lpstr>Microsoft YaHei Light</vt:lpstr>
      <vt:lpstr>TTTGB Medium</vt:lpstr>
      <vt:lpstr>Arial</vt:lpstr>
      <vt:lpstr>Calibri</vt:lpstr>
      <vt:lpstr>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Microsoft Office User</cp:lastModifiedBy>
  <cp:revision>454</cp:revision>
  <cp:lastPrinted>2018-05-28T16:00:00Z</cp:lastPrinted>
  <dcterms:created xsi:type="dcterms:W3CDTF">2018-05-28T16:00:00Z</dcterms:created>
  <dcterms:modified xsi:type="dcterms:W3CDTF">2020-07-30T01:5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7989</vt:lpwstr>
  </property>
</Properties>
</file>